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3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9" r:id="rId1"/>
    <p:sldMasterId id="2147483650" r:id="rId2"/>
    <p:sldMasterId id="2147483651" r:id="rId3"/>
    <p:sldMasterId id="2147483654" r:id="rId4"/>
    <p:sldMasterId id="2147483671" r:id="rId5"/>
  </p:sldMasterIdLst>
  <p:notesMasterIdLst>
    <p:notesMasterId r:id="rId40"/>
  </p:notesMasterIdLst>
  <p:sldIdLst>
    <p:sldId id="296" r:id="rId6"/>
    <p:sldId id="297" r:id="rId7"/>
    <p:sldId id="321" r:id="rId8"/>
    <p:sldId id="334" r:id="rId9"/>
    <p:sldId id="301" r:id="rId10"/>
    <p:sldId id="324" r:id="rId11"/>
    <p:sldId id="320" r:id="rId12"/>
    <p:sldId id="325" r:id="rId13"/>
    <p:sldId id="327" r:id="rId14"/>
    <p:sldId id="307" r:id="rId15"/>
    <p:sldId id="339" r:id="rId16"/>
    <p:sldId id="309" r:id="rId17"/>
    <p:sldId id="328" r:id="rId18"/>
    <p:sldId id="310" r:id="rId19"/>
    <p:sldId id="317" r:id="rId20"/>
    <p:sldId id="329" r:id="rId21"/>
    <p:sldId id="348" r:id="rId22"/>
    <p:sldId id="371" r:id="rId23"/>
    <p:sldId id="372" r:id="rId24"/>
    <p:sldId id="369" r:id="rId25"/>
    <p:sldId id="366" r:id="rId26"/>
    <p:sldId id="330" r:id="rId27"/>
    <p:sldId id="350" r:id="rId28"/>
    <p:sldId id="352" r:id="rId29"/>
    <p:sldId id="359" r:id="rId30"/>
    <p:sldId id="353" r:id="rId31"/>
    <p:sldId id="354" r:id="rId32"/>
    <p:sldId id="356" r:id="rId33"/>
    <p:sldId id="357" r:id="rId34"/>
    <p:sldId id="358" r:id="rId35"/>
    <p:sldId id="355" r:id="rId36"/>
    <p:sldId id="331" r:id="rId37"/>
    <p:sldId id="363" r:id="rId38"/>
    <p:sldId id="333" r:id="rId39"/>
  </p:sldIdLst>
  <p:sldSz cx="9144000" cy="5143500" type="screen16x9"/>
  <p:notesSz cx="6858000" cy="9144000"/>
  <p:embeddedFontLst>
    <p:embeddedFont>
      <p:font typeface="Aptos Light" panose="020B0004020202020204" pitchFamily="34" charset="0"/>
      <p:regular r:id="rId41"/>
      <p:italic r:id="rId42"/>
    </p:embeddedFont>
    <p:embeddedFont>
      <p:font typeface="Aptos SemiBold" panose="020B0004020202020204" pitchFamily="34" charset="0"/>
      <p:bold r:id="rId43"/>
      <p:boldItalic r:id="rId44"/>
    </p:embeddedFont>
    <p:embeddedFont>
      <p:font typeface="Cambria Math" panose="02040503050406030204" pitchFamily="18" charset="0"/>
      <p:regular r:id="rId45"/>
    </p:embeddedFont>
  </p:embeddedFontLst>
  <p:custDataLst>
    <p:tags r:id="rId4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Title and agenda" id="{D7908DF1-6A39-4AF6-99D5-F7F57507C4C3}">
          <p14:sldIdLst>
            <p14:sldId id="296"/>
            <p14:sldId id="297"/>
          </p14:sldIdLst>
        </p14:section>
        <p14:section name="Project overview" id="{10BC4962-C7B5-4116-903A-DA99F43658A8}">
          <p14:sldIdLst>
            <p14:sldId id="321"/>
            <p14:sldId id="334"/>
            <p14:sldId id="301"/>
          </p14:sldIdLst>
        </p14:section>
        <p14:section name="Dataset" id="{4C47147E-B84E-4422-A009-A36C6B277D18}">
          <p14:sldIdLst>
            <p14:sldId id="324"/>
            <p14:sldId id="320"/>
            <p14:sldId id="325"/>
          </p14:sldIdLst>
        </p14:section>
        <p14:section name="Supply chain modeling" id="{ACE01275-D6A8-4AFA-B4DE-AA9E63D92BFE}">
          <p14:sldIdLst>
            <p14:sldId id="327"/>
            <p14:sldId id="307"/>
            <p14:sldId id="339"/>
            <p14:sldId id="309"/>
          </p14:sldIdLst>
        </p14:section>
        <p14:section name="Historical indicators" id="{AFA59C74-C90A-4CA1-9B4D-87E46E3780FD}">
          <p14:sldIdLst>
            <p14:sldId id="328"/>
            <p14:sldId id="310"/>
            <p14:sldId id="317"/>
          </p14:sldIdLst>
        </p14:section>
        <p14:section name="Realtime indicators" id="{76E247DA-49D6-4E34-88E0-3B7C70ED9B56}">
          <p14:sldIdLst>
            <p14:sldId id="329"/>
            <p14:sldId id="348"/>
            <p14:sldId id="371"/>
            <p14:sldId id="372"/>
            <p14:sldId id="369"/>
            <p14:sldId id="366"/>
          </p14:sldIdLst>
        </p14:section>
        <p14:section name="Prototype and results" id="{23DDE0B9-FDFF-43DD-90E9-C1995CCD43ED}">
          <p14:sldIdLst>
            <p14:sldId id="330"/>
            <p14:sldId id="350"/>
            <p14:sldId id="352"/>
            <p14:sldId id="359"/>
            <p14:sldId id="353"/>
            <p14:sldId id="354"/>
            <p14:sldId id="356"/>
            <p14:sldId id="357"/>
            <p14:sldId id="358"/>
            <p14:sldId id="355"/>
          </p14:sldIdLst>
        </p14:section>
        <p14:section name="Conclusion" id="{01947DE0-C6AA-43E7-8247-8D112C68A2A6}">
          <p14:sldIdLst>
            <p14:sldId id="331"/>
            <p14:sldId id="363"/>
            <p14:sldId id="33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5E4B"/>
    <a:srgbClr val="9FBCB4"/>
    <a:srgbClr val="477C5A"/>
    <a:srgbClr val="5E8B6E"/>
    <a:srgbClr val="4F8161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3B5141-E994-4AD3-AD35-C066B117E498}" v="2774" dt="2025-09-18T20:12:14.960"/>
  </p1510:revLst>
</p1510:revInfo>
</file>

<file path=ppt/tableStyles.xml><?xml version="1.0" encoding="utf-8"?>
<a:tblStyleLst xmlns:a="http://schemas.openxmlformats.org/drawingml/2006/main" def="{63B48042-AE31-4177-9097-B33D8566F184}">
  <a:tblStyle styleId="{63B48042-AE31-4177-9097-B33D8566F18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E9401DF-CD6C-4E42-9A2F-2D9D5E302E86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47" autoAdjust="0"/>
    <p:restoredTop sz="94660"/>
  </p:normalViewPr>
  <p:slideViewPr>
    <p:cSldViewPr snapToGrid="0">
      <p:cViewPr varScale="1">
        <p:scale>
          <a:sx n="78" d="100"/>
          <a:sy n="78" d="100"/>
        </p:scale>
        <p:origin x="212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font" Target="fonts/font2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5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4.fntdata"/><Relationship Id="rId52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font" Target="fonts/font3.fntdata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ia Volpato" userId="d4750074-1d82-4b06-bea9-f9f846aceec4" providerId="ADAL" clId="{598E0B15-66F7-4D4D-9F75-C859811114CD}"/>
    <pc:docChg chg="undo redo custSel addSld delSld modSld sldOrd modSection">
      <pc:chgData name="Mattia Volpato" userId="d4750074-1d82-4b06-bea9-f9f846aceec4" providerId="ADAL" clId="{598E0B15-66F7-4D4D-9F75-C859811114CD}" dt="2025-09-18T20:13:14.484" v="10991" actId="113"/>
      <pc:docMkLst>
        <pc:docMk/>
      </pc:docMkLst>
      <pc:sldChg chg="modSp mod">
        <pc:chgData name="Mattia Volpato" userId="d4750074-1d82-4b06-bea9-f9f846aceec4" providerId="ADAL" clId="{598E0B15-66F7-4D4D-9F75-C859811114CD}" dt="2025-09-17T13:44:57.783" v="5559" actId="207"/>
        <pc:sldMkLst>
          <pc:docMk/>
          <pc:sldMk cId="1471960712" sldId="296"/>
        </pc:sldMkLst>
        <pc:spChg chg="mod">
          <ac:chgData name="Mattia Volpato" userId="d4750074-1d82-4b06-bea9-f9f846aceec4" providerId="ADAL" clId="{598E0B15-66F7-4D4D-9F75-C859811114CD}" dt="2025-09-17T13:44:57.783" v="5559" actId="207"/>
          <ac:spMkLst>
            <pc:docMk/>
            <pc:sldMk cId="1471960712" sldId="296"/>
            <ac:spMk id="10" creationId="{DF7F1B92-FA81-C0E6-AFD3-AC6DA67C21D8}"/>
          </ac:spMkLst>
        </pc:spChg>
      </pc:sldChg>
      <pc:sldChg chg="modSp mod">
        <pc:chgData name="Mattia Volpato" userId="d4750074-1d82-4b06-bea9-f9f846aceec4" providerId="ADAL" clId="{598E0B15-66F7-4D4D-9F75-C859811114CD}" dt="2025-09-18T18:37:09.626" v="9227" actId="20577"/>
        <pc:sldMkLst>
          <pc:docMk/>
          <pc:sldMk cId="3296584249" sldId="297"/>
        </pc:sldMkLst>
        <pc:spChg chg="mod">
          <ac:chgData name="Mattia Volpato" userId="d4750074-1d82-4b06-bea9-f9f846aceec4" providerId="ADAL" clId="{598E0B15-66F7-4D4D-9F75-C859811114CD}" dt="2025-09-18T18:37:09.626" v="9227" actId="20577"/>
          <ac:spMkLst>
            <pc:docMk/>
            <pc:sldMk cId="3296584249" sldId="297"/>
            <ac:spMk id="2" creationId="{212316B8-EEE8-7FCD-F819-DDD74C3422AD}"/>
          </ac:spMkLst>
        </pc:spChg>
        <pc:spChg chg="mod">
          <ac:chgData name="Mattia Volpato" userId="d4750074-1d82-4b06-bea9-f9f846aceec4" providerId="ADAL" clId="{598E0B15-66F7-4D4D-9F75-C859811114CD}" dt="2025-09-17T12:04:51.507" v="4672" actId="255"/>
          <ac:spMkLst>
            <pc:docMk/>
            <pc:sldMk cId="3296584249" sldId="297"/>
            <ac:spMk id="3" creationId="{BB0F2B1D-3814-7AED-D61A-4EF6159C272A}"/>
          </ac:spMkLst>
        </pc:spChg>
      </pc:sldChg>
      <pc:sldChg chg="modSp mod">
        <pc:chgData name="Mattia Volpato" userId="d4750074-1d82-4b06-bea9-f9f846aceec4" providerId="ADAL" clId="{598E0B15-66F7-4D4D-9F75-C859811114CD}" dt="2025-09-17T13:45:04.747" v="5560" actId="207"/>
        <pc:sldMkLst>
          <pc:docMk/>
          <pc:sldMk cId="504063912" sldId="298"/>
        </pc:sldMkLst>
        <pc:spChg chg="mod">
          <ac:chgData name="Mattia Volpato" userId="d4750074-1d82-4b06-bea9-f9f846aceec4" providerId="ADAL" clId="{598E0B15-66F7-4D4D-9F75-C859811114CD}" dt="2025-09-17T13:45:04.747" v="5560" actId="207"/>
          <ac:spMkLst>
            <pc:docMk/>
            <pc:sldMk cId="504063912" sldId="298"/>
            <ac:spMk id="5" creationId="{8C6118A7-0E2D-61D2-27C1-47A8B5CCC5C5}"/>
          </ac:spMkLst>
        </pc:spChg>
      </pc:sldChg>
      <pc:sldChg chg="modSp mod">
        <pc:chgData name="Mattia Volpato" userId="d4750074-1d82-4b06-bea9-f9f846aceec4" providerId="ADAL" clId="{598E0B15-66F7-4D4D-9F75-C859811114CD}" dt="2025-09-17T13:45:15.715" v="5562" actId="207"/>
        <pc:sldMkLst>
          <pc:docMk/>
          <pc:sldMk cId="581465989" sldId="301"/>
        </pc:sldMkLst>
        <pc:spChg chg="mod">
          <ac:chgData name="Mattia Volpato" userId="d4750074-1d82-4b06-bea9-f9f846aceec4" providerId="ADAL" clId="{598E0B15-66F7-4D4D-9F75-C859811114CD}" dt="2025-09-17T13:45:15.715" v="5562" actId="207"/>
          <ac:spMkLst>
            <pc:docMk/>
            <pc:sldMk cId="581465989" sldId="301"/>
            <ac:spMk id="8" creationId="{76123185-6003-6136-FD0F-8894AA7C0AFE}"/>
          </ac:spMkLst>
        </pc:spChg>
      </pc:sldChg>
      <pc:sldChg chg="delSp modSp mod">
        <pc:chgData name="Mattia Volpato" userId="d4750074-1d82-4b06-bea9-f9f846aceec4" providerId="ADAL" clId="{598E0B15-66F7-4D4D-9F75-C859811114CD}" dt="2025-09-18T20:08:06.842" v="10957" actId="20577"/>
        <pc:sldMkLst>
          <pc:docMk/>
          <pc:sldMk cId="2458540550" sldId="307"/>
        </pc:sldMkLst>
        <pc:spChg chg="mod">
          <ac:chgData name="Mattia Volpato" userId="d4750074-1d82-4b06-bea9-f9f846aceec4" providerId="ADAL" clId="{598E0B15-66F7-4D4D-9F75-C859811114CD}" dt="2025-09-17T13:45:37.962" v="5566" actId="207"/>
          <ac:spMkLst>
            <pc:docMk/>
            <pc:sldMk cId="2458540550" sldId="307"/>
            <ac:spMk id="7" creationId="{2C6AAF22-8B83-97B5-9075-8E66A8CB780C}"/>
          </ac:spMkLst>
        </pc:spChg>
        <pc:spChg chg="mod">
          <ac:chgData name="Mattia Volpato" userId="d4750074-1d82-4b06-bea9-f9f846aceec4" providerId="ADAL" clId="{598E0B15-66F7-4D4D-9F75-C859811114CD}" dt="2025-09-17T13:45:52.659" v="5568" actId="2711"/>
          <ac:spMkLst>
            <pc:docMk/>
            <pc:sldMk cId="2458540550" sldId="307"/>
            <ac:spMk id="11" creationId="{4AF9F62B-A3D1-93B9-6D53-75083F3B39D6}"/>
          </ac:spMkLst>
        </pc:spChg>
        <pc:spChg chg="mod">
          <ac:chgData name="Mattia Volpato" userId="d4750074-1d82-4b06-bea9-f9f846aceec4" providerId="ADAL" clId="{598E0B15-66F7-4D4D-9F75-C859811114CD}" dt="2025-09-18T20:08:06.842" v="10957" actId="20577"/>
          <ac:spMkLst>
            <pc:docMk/>
            <pc:sldMk cId="2458540550" sldId="307"/>
            <ac:spMk id="17" creationId="{D7AFA29D-DD90-72E8-2F5D-DA33CD13CAC6}"/>
          </ac:spMkLst>
        </pc:spChg>
        <pc:spChg chg="mod">
          <ac:chgData name="Mattia Volpato" userId="d4750074-1d82-4b06-bea9-f9f846aceec4" providerId="ADAL" clId="{598E0B15-66F7-4D4D-9F75-C859811114CD}" dt="2025-09-17T13:45:45.862" v="5567" actId="2711"/>
          <ac:spMkLst>
            <pc:docMk/>
            <pc:sldMk cId="2458540550" sldId="307"/>
            <ac:spMk id="20" creationId="{F61A6476-139B-6CD3-91BC-9F2FD68320A3}"/>
          </ac:spMkLst>
        </pc:spChg>
        <pc:spChg chg="del">
          <ac:chgData name="Mattia Volpato" userId="d4750074-1d82-4b06-bea9-f9f846aceec4" providerId="ADAL" clId="{598E0B15-66F7-4D4D-9F75-C859811114CD}" dt="2025-09-18T20:08:05.532" v="10956" actId="478"/>
          <ac:spMkLst>
            <pc:docMk/>
            <pc:sldMk cId="2458540550" sldId="307"/>
            <ac:spMk id="23" creationId="{8B25BF9A-2D73-FD4C-64DF-97306FBBDA8B}"/>
          </ac:spMkLst>
        </pc:spChg>
      </pc:sldChg>
      <pc:sldChg chg="modSp mod">
        <pc:chgData name="Mattia Volpato" userId="d4750074-1d82-4b06-bea9-f9f846aceec4" providerId="ADAL" clId="{598E0B15-66F7-4D4D-9F75-C859811114CD}" dt="2025-09-17T13:47:08.254" v="5583" actId="207"/>
        <pc:sldMkLst>
          <pc:docMk/>
          <pc:sldMk cId="1784023086" sldId="309"/>
        </pc:sldMkLst>
        <pc:spChg chg="mod">
          <ac:chgData name="Mattia Volpato" userId="d4750074-1d82-4b06-bea9-f9f846aceec4" providerId="ADAL" clId="{598E0B15-66F7-4D4D-9F75-C859811114CD}" dt="2025-09-17T13:47:08.254" v="5583" actId="207"/>
          <ac:spMkLst>
            <pc:docMk/>
            <pc:sldMk cId="1784023086" sldId="309"/>
            <ac:spMk id="7" creationId="{07299546-006F-2DA1-94F6-8883AE60A43C}"/>
          </ac:spMkLst>
        </pc:spChg>
      </pc:sldChg>
      <pc:sldChg chg="modSp mod">
        <pc:chgData name="Mattia Volpato" userId="d4750074-1d82-4b06-bea9-f9f846aceec4" providerId="ADAL" clId="{598E0B15-66F7-4D4D-9F75-C859811114CD}" dt="2025-09-17T13:47:27.038" v="5587" actId="14100"/>
        <pc:sldMkLst>
          <pc:docMk/>
          <pc:sldMk cId="2725699867" sldId="310"/>
        </pc:sldMkLst>
        <pc:spChg chg="mod">
          <ac:chgData name="Mattia Volpato" userId="d4750074-1d82-4b06-bea9-f9f846aceec4" providerId="ADAL" clId="{598E0B15-66F7-4D4D-9F75-C859811114CD}" dt="2025-09-17T08:32:19.674" v="2081" actId="1035"/>
          <ac:spMkLst>
            <pc:docMk/>
            <pc:sldMk cId="2725699867" sldId="310"/>
            <ac:spMk id="3" creationId="{0ACBE8AD-AD7D-A8AF-5925-1C1ADE05AE45}"/>
          </ac:spMkLst>
        </pc:spChg>
        <pc:spChg chg="mod">
          <ac:chgData name="Mattia Volpato" userId="d4750074-1d82-4b06-bea9-f9f846aceec4" providerId="ADAL" clId="{598E0B15-66F7-4D4D-9F75-C859811114CD}" dt="2025-09-17T13:47:27.038" v="5587" actId="14100"/>
          <ac:spMkLst>
            <pc:docMk/>
            <pc:sldMk cId="2725699867" sldId="310"/>
            <ac:spMk id="9" creationId="{ED2A0887-9644-58BE-1EFB-F21F50617890}"/>
          </ac:spMkLst>
        </pc:spChg>
        <pc:spChg chg="mod">
          <ac:chgData name="Mattia Volpato" userId="d4750074-1d82-4b06-bea9-f9f846aceec4" providerId="ADAL" clId="{598E0B15-66F7-4D4D-9F75-C859811114CD}" dt="2025-09-17T13:47:13.253" v="5584" actId="207"/>
          <ac:spMkLst>
            <pc:docMk/>
            <pc:sldMk cId="2725699867" sldId="310"/>
            <ac:spMk id="20" creationId="{685818B4-A198-0F6C-9DF1-EFD73D2AF65C}"/>
          </ac:spMkLst>
        </pc:spChg>
      </pc:sldChg>
      <pc:sldChg chg="del">
        <pc:chgData name="Mattia Volpato" userId="d4750074-1d82-4b06-bea9-f9f846aceec4" providerId="ADAL" clId="{598E0B15-66F7-4D4D-9F75-C859811114CD}" dt="2025-09-18T18:47:51.646" v="9707" actId="47"/>
        <pc:sldMkLst>
          <pc:docMk/>
          <pc:sldMk cId="3428306698" sldId="311"/>
        </pc:sldMkLst>
      </pc:sldChg>
      <pc:sldChg chg="del">
        <pc:chgData name="Mattia Volpato" userId="d4750074-1d82-4b06-bea9-f9f846aceec4" providerId="ADAL" clId="{598E0B15-66F7-4D4D-9F75-C859811114CD}" dt="2025-09-18T18:46:34.797" v="9696" actId="2696"/>
        <pc:sldMkLst>
          <pc:docMk/>
          <pc:sldMk cId="476881696" sldId="312"/>
        </pc:sldMkLst>
      </pc:sldChg>
      <pc:sldChg chg="del">
        <pc:chgData name="Mattia Volpato" userId="d4750074-1d82-4b06-bea9-f9f846aceec4" providerId="ADAL" clId="{598E0B15-66F7-4D4D-9F75-C859811114CD}" dt="2025-09-18T18:46:37.258" v="9697" actId="47"/>
        <pc:sldMkLst>
          <pc:docMk/>
          <pc:sldMk cId="2311359738" sldId="313"/>
        </pc:sldMkLst>
      </pc:sldChg>
      <pc:sldChg chg="del">
        <pc:chgData name="Mattia Volpato" userId="d4750074-1d82-4b06-bea9-f9f846aceec4" providerId="ADAL" clId="{598E0B15-66F7-4D4D-9F75-C859811114CD}" dt="2025-09-18T18:46:38.373" v="9698" actId="47"/>
        <pc:sldMkLst>
          <pc:docMk/>
          <pc:sldMk cId="2116755779" sldId="314"/>
        </pc:sldMkLst>
      </pc:sldChg>
      <pc:sldChg chg="del">
        <pc:chgData name="Mattia Volpato" userId="d4750074-1d82-4b06-bea9-f9f846aceec4" providerId="ADAL" clId="{598E0B15-66F7-4D4D-9F75-C859811114CD}" dt="2025-09-18T18:46:39.509" v="9699" actId="47"/>
        <pc:sldMkLst>
          <pc:docMk/>
          <pc:sldMk cId="2894161044" sldId="315"/>
        </pc:sldMkLst>
      </pc:sldChg>
      <pc:sldChg chg="delSp modSp del mod">
        <pc:chgData name="Mattia Volpato" userId="d4750074-1d82-4b06-bea9-f9f846aceec4" providerId="ADAL" clId="{598E0B15-66F7-4D4D-9F75-C859811114CD}" dt="2025-09-17T07:45:17.989" v="919" actId="2696"/>
        <pc:sldMkLst>
          <pc:docMk/>
          <pc:sldMk cId="2895850927" sldId="316"/>
        </pc:sldMkLst>
        <pc:spChg chg="del mod">
          <ac:chgData name="Mattia Volpato" userId="d4750074-1d82-4b06-bea9-f9f846aceec4" providerId="ADAL" clId="{598E0B15-66F7-4D4D-9F75-C859811114CD}" dt="2025-09-17T07:37:21.049" v="680" actId="478"/>
          <ac:spMkLst>
            <pc:docMk/>
            <pc:sldMk cId="2895850927" sldId="316"/>
            <ac:spMk id="16" creationId="{79E72EBB-D5BA-0BEE-15FD-F21D490B9770}"/>
          </ac:spMkLst>
        </pc:spChg>
        <pc:grpChg chg="del">
          <ac:chgData name="Mattia Volpato" userId="d4750074-1d82-4b06-bea9-f9f846aceec4" providerId="ADAL" clId="{598E0B15-66F7-4D4D-9F75-C859811114CD}" dt="2025-09-17T07:37:19.072" v="678" actId="478"/>
          <ac:grpSpMkLst>
            <pc:docMk/>
            <pc:sldMk cId="2895850927" sldId="316"/>
            <ac:grpSpMk id="4" creationId="{30777746-2B89-C43A-ED54-E2859F570618}"/>
          </ac:grpSpMkLst>
        </pc:grpChg>
      </pc:sldChg>
      <pc:sldChg chg="modSp mod">
        <pc:chgData name="Mattia Volpato" userId="d4750074-1d82-4b06-bea9-f9f846aceec4" providerId="ADAL" clId="{598E0B15-66F7-4D4D-9F75-C859811114CD}" dt="2025-09-17T13:47:50.960" v="5589" actId="1076"/>
        <pc:sldMkLst>
          <pc:docMk/>
          <pc:sldMk cId="4127462289" sldId="317"/>
        </pc:sldMkLst>
        <pc:spChg chg="mod">
          <ac:chgData name="Mattia Volpato" userId="d4750074-1d82-4b06-bea9-f9f846aceec4" providerId="ADAL" clId="{598E0B15-66F7-4D4D-9F75-C859811114CD}" dt="2025-09-17T13:47:48.595" v="5588" actId="1076"/>
          <ac:spMkLst>
            <pc:docMk/>
            <pc:sldMk cId="4127462289" sldId="317"/>
            <ac:spMk id="19" creationId="{FEF75950-A634-3B8C-6DA8-61B651DBBF76}"/>
          </ac:spMkLst>
        </pc:spChg>
        <pc:spChg chg="mod">
          <ac:chgData name="Mattia Volpato" userId="d4750074-1d82-4b06-bea9-f9f846aceec4" providerId="ADAL" clId="{598E0B15-66F7-4D4D-9F75-C859811114CD}" dt="2025-09-17T13:47:50.960" v="5589" actId="1076"/>
          <ac:spMkLst>
            <pc:docMk/>
            <pc:sldMk cId="4127462289" sldId="317"/>
            <ac:spMk id="21" creationId="{BC1E4DCA-D5CD-451D-B8BB-A6F5B74B9410}"/>
          </ac:spMkLst>
        </pc:spChg>
      </pc:sldChg>
      <pc:sldChg chg="del">
        <pc:chgData name="Mattia Volpato" userId="d4750074-1d82-4b06-bea9-f9f846aceec4" providerId="ADAL" clId="{598E0B15-66F7-4D4D-9F75-C859811114CD}" dt="2025-09-18T18:46:41.255" v="9700" actId="47"/>
        <pc:sldMkLst>
          <pc:docMk/>
          <pc:sldMk cId="3966949533" sldId="318"/>
        </pc:sldMkLst>
      </pc:sldChg>
      <pc:sldChg chg="del ord">
        <pc:chgData name="Mattia Volpato" userId="d4750074-1d82-4b06-bea9-f9f846aceec4" providerId="ADAL" clId="{598E0B15-66F7-4D4D-9F75-C859811114CD}" dt="2025-09-17T08:48:04.219" v="2401" actId="2696"/>
        <pc:sldMkLst>
          <pc:docMk/>
          <pc:sldMk cId="1100173371" sldId="319"/>
        </pc:sldMkLst>
      </pc:sldChg>
      <pc:sldChg chg="modSp mod">
        <pc:chgData name="Mattia Volpato" userId="d4750074-1d82-4b06-bea9-f9f846aceec4" providerId="ADAL" clId="{598E0B15-66F7-4D4D-9F75-C859811114CD}" dt="2025-09-17T13:45:24.240" v="5563" actId="207"/>
        <pc:sldMkLst>
          <pc:docMk/>
          <pc:sldMk cId="585652161" sldId="320"/>
        </pc:sldMkLst>
        <pc:spChg chg="mod">
          <ac:chgData name="Mattia Volpato" userId="d4750074-1d82-4b06-bea9-f9f846aceec4" providerId="ADAL" clId="{598E0B15-66F7-4D4D-9F75-C859811114CD}" dt="2025-09-17T13:45:24.240" v="5563" actId="207"/>
          <ac:spMkLst>
            <pc:docMk/>
            <pc:sldMk cId="585652161" sldId="320"/>
            <ac:spMk id="17" creationId="{CFE0237E-07B0-095F-CCC5-416010814B23}"/>
          </ac:spMkLst>
        </pc:spChg>
      </pc:sldChg>
      <pc:sldChg chg="modSp mod">
        <pc:chgData name="Mattia Volpato" userId="d4750074-1d82-4b06-bea9-f9f846aceec4" providerId="ADAL" clId="{598E0B15-66F7-4D4D-9F75-C859811114CD}" dt="2025-09-17T13:53:28.599" v="5608" actId="255"/>
        <pc:sldMkLst>
          <pc:docMk/>
          <pc:sldMk cId="2585341399" sldId="325"/>
        </pc:sldMkLst>
        <pc:spChg chg="mod">
          <ac:chgData name="Mattia Volpato" userId="d4750074-1d82-4b06-bea9-f9f846aceec4" providerId="ADAL" clId="{598E0B15-66F7-4D4D-9F75-C859811114CD}" dt="2025-09-17T13:53:28.599" v="5608" actId="255"/>
          <ac:spMkLst>
            <pc:docMk/>
            <pc:sldMk cId="2585341399" sldId="325"/>
            <ac:spMk id="12" creationId="{07959758-DAF0-24C0-671C-3BE67176F7E2}"/>
          </ac:spMkLst>
        </pc:spChg>
        <pc:spChg chg="mod">
          <ac:chgData name="Mattia Volpato" userId="d4750074-1d82-4b06-bea9-f9f846aceec4" providerId="ADAL" clId="{598E0B15-66F7-4D4D-9F75-C859811114CD}" dt="2025-09-17T13:45:29.618" v="5564" actId="207"/>
          <ac:spMkLst>
            <pc:docMk/>
            <pc:sldMk cId="2585341399" sldId="325"/>
            <ac:spMk id="18" creationId="{3207C4F0-93C0-86A0-CA5A-DAF2A82C0BE2}"/>
          </ac:spMkLst>
        </pc:spChg>
      </pc:sldChg>
      <pc:sldChg chg="addSp delSp modSp del mod">
        <pc:chgData name="Mattia Volpato" userId="d4750074-1d82-4b06-bea9-f9f846aceec4" providerId="ADAL" clId="{598E0B15-66F7-4D4D-9F75-C859811114CD}" dt="2025-09-17T12:04:03.372" v="4634" actId="2696"/>
        <pc:sldMkLst>
          <pc:docMk/>
          <pc:sldMk cId="2865749735" sldId="332"/>
        </pc:sldMkLst>
        <pc:spChg chg="add del">
          <ac:chgData name="Mattia Volpato" userId="d4750074-1d82-4b06-bea9-f9f846aceec4" providerId="ADAL" clId="{598E0B15-66F7-4D4D-9F75-C859811114CD}" dt="2025-09-17T09:47:10.522" v="4232" actId="478"/>
          <ac:spMkLst>
            <pc:docMk/>
            <pc:sldMk cId="2865749735" sldId="332"/>
            <ac:spMk id="5" creationId="{15883B42-84F2-27D2-AC9B-F28AAD80F892}"/>
          </ac:spMkLst>
        </pc:spChg>
        <pc:spChg chg="add del">
          <ac:chgData name="Mattia Volpato" userId="d4750074-1d82-4b06-bea9-f9f846aceec4" providerId="ADAL" clId="{598E0B15-66F7-4D4D-9F75-C859811114CD}" dt="2025-09-17T09:47:11.245" v="4236" actId="478"/>
          <ac:spMkLst>
            <pc:docMk/>
            <pc:sldMk cId="2865749735" sldId="332"/>
            <ac:spMk id="10" creationId="{720A660A-EE45-03CA-AE1B-E0860BEE82D1}"/>
          </ac:spMkLst>
        </pc:spChg>
        <pc:spChg chg="add mod">
          <ac:chgData name="Mattia Volpato" userId="d4750074-1d82-4b06-bea9-f9f846aceec4" providerId="ADAL" clId="{598E0B15-66F7-4D4D-9F75-C859811114CD}" dt="2025-09-17T09:47:10.089" v="4231" actId="20577"/>
          <ac:spMkLst>
            <pc:docMk/>
            <pc:sldMk cId="2865749735" sldId="332"/>
            <ac:spMk id="11" creationId="{4C831355-4959-144E-192F-284F28BD1499}"/>
          </ac:spMkLst>
        </pc:spChg>
        <pc:spChg chg="add del">
          <ac:chgData name="Mattia Volpato" userId="d4750074-1d82-4b06-bea9-f9f846aceec4" providerId="ADAL" clId="{598E0B15-66F7-4D4D-9F75-C859811114CD}" dt="2025-09-17T09:47:10.701" v="4233" actId="478"/>
          <ac:spMkLst>
            <pc:docMk/>
            <pc:sldMk cId="2865749735" sldId="332"/>
            <ac:spMk id="14" creationId="{2ECD8D6D-8DEC-B9FC-6417-9F168DEE23E1}"/>
          </ac:spMkLst>
        </pc:spChg>
        <pc:spChg chg="add del">
          <ac:chgData name="Mattia Volpato" userId="d4750074-1d82-4b06-bea9-f9f846aceec4" providerId="ADAL" clId="{598E0B15-66F7-4D4D-9F75-C859811114CD}" dt="2025-09-17T09:47:11.069" v="4235" actId="478"/>
          <ac:spMkLst>
            <pc:docMk/>
            <pc:sldMk cId="2865749735" sldId="332"/>
            <ac:spMk id="17" creationId="{2DF5FDDF-4CF2-9F56-DB18-4A96FF32680D}"/>
          </ac:spMkLst>
        </pc:spChg>
        <pc:spChg chg="add del mod">
          <ac:chgData name="Mattia Volpato" userId="d4750074-1d82-4b06-bea9-f9f846aceec4" providerId="ADAL" clId="{598E0B15-66F7-4D4D-9F75-C859811114CD}" dt="2025-09-17T09:47:08.851" v="4226" actId="20577"/>
          <ac:spMkLst>
            <pc:docMk/>
            <pc:sldMk cId="2865749735" sldId="332"/>
            <ac:spMk id="19" creationId="{1089AB97-373D-88D0-28B2-0E0EE6FB03CA}"/>
          </ac:spMkLst>
        </pc:spChg>
        <pc:spChg chg="add del">
          <ac:chgData name="Mattia Volpato" userId="d4750074-1d82-4b06-bea9-f9f846aceec4" providerId="ADAL" clId="{598E0B15-66F7-4D4D-9F75-C859811114CD}" dt="2025-09-17T09:47:09.094" v="4227" actId="478"/>
          <ac:spMkLst>
            <pc:docMk/>
            <pc:sldMk cId="2865749735" sldId="332"/>
            <ac:spMk id="20" creationId="{20CE248A-EE95-04D3-3CAE-39B668358711}"/>
          </ac:spMkLst>
        </pc:spChg>
        <pc:spChg chg="mod">
          <ac:chgData name="Mattia Volpato" userId="d4750074-1d82-4b06-bea9-f9f846aceec4" providerId="ADAL" clId="{598E0B15-66F7-4D4D-9F75-C859811114CD}" dt="2025-09-17T09:47:08.209" v="4224" actId="1076"/>
          <ac:spMkLst>
            <pc:docMk/>
            <pc:sldMk cId="2865749735" sldId="332"/>
            <ac:spMk id="22" creationId="{2E6148CB-68D6-4D07-6BFD-82405514C643}"/>
          </ac:spMkLst>
        </pc:spChg>
        <pc:spChg chg="add del">
          <ac:chgData name="Mattia Volpato" userId="d4750074-1d82-4b06-bea9-f9f846aceec4" providerId="ADAL" clId="{598E0B15-66F7-4D4D-9F75-C859811114CD}" dt="2025-09-17T09:47:09.335" v="4228" actId="478"/>
          <ac:spMkLst>
            <pc:docMk/>
            <pc:sldMk cId="2865749735" sldId="332"/>
            <ac:spMk id="23" creationId="{81BDB8F4-E809-D99D-BB4D-4F9AEED300D7}"/>
          </ac:spMkLst>
        </pc:spChg>
        <pc:grpChg chg="add del">
          <ac:chgData name="Mattia Volpato" userId="d4750074-1d82-4b06-bea9-f9f846aceec4" providerId="ADAL" clId="{598E0B15-66F7-4D4D-9F75-C859811114CD}" dt="2025-09-17T09:47:13.577" v="4242" actId="478"/>
          <ac:grpSpMkLst>
            <pc:docMk/>
            <pc:sldMk cId="2865749735" sldId="332"/>
            <ac:grpSpMk id="4" creationId="{CCFDED8F-3198-A35F-9619-CE33082C50B8}"/>
          </ac:grpSpMkLst>
        </pc:grpChg>
        <pc:picChg chg="add del">
          <ac:chgData name="Mattia Volpato" userId="d4750074-1d82-4b06-bea9-f9f846aceec4" providerId="ADAL" clId="{598E0B15-66F7-4D4D-9F75-C859811114CD}" dt="2025-09-17T09:47:10.897" v="4234" actId="478"/>
          <ac:picMkLst>
            <pc:docMk/>
            <pc:sldMk cId="2865749735" sldId="332"/>
            <ac:picMk id="18" creationId="{EC38946B-1103-9E08-2657-8D0660156C85}"/>
          </ac:picMkLst>
        </pc:picChg>
      </pc:sldChg>
      <pc:sldChg chg="modSp mod">
        <pc:chgData name="Mattia Volpato" userId="d4750074-1d82-4b06-bea9-f9f846aceec4" providerId="ADAL" clId="{598E0B15-66F7-4D4D-9F75-C859811114CD}" dt="2025-09-17T13:52:17.768" v="5607" actId="255"/>
        <pc:sldMkLst>
          <pc:docMk/>
          <pc:sldMk cId="1894329829" sldId="333"/>
        </pc:sldMkLst>
        <pc:spChg chg="mod">
          <ac:chgData name="Mattia Volpato" userId="d4750074-1d82-4b06-bea9-f9f846aceec4" providerId="ADAL" clId="{598E0B15-66F7-4D4D-9F75-C859811114CD}" dt="2025-09-17T13:52:17.768" v="5607" actId="255"/>
          <ac:spMkLst>
            <pc:docMk/>
            <pc:sldMk cId="1894329829" sldId="333"/>
            <ac:spMk id="2" creationId="{EB0C8153-69C7-32BB-73F9-B93CD93E0B91}"/>
          </ac:spMkLst>
        </pc:spChg>
      </pc:sldChg>
      <pc:sldChg chg="modSp mod">
        <pc:chgData name="Mattia Volpato" userId="d4750074-1d82-4b06-bea9-f9f846aceec4" providerId="ADAL" clId="{598E0B15-66F7-4D4D-9F75-C859811114CD}" dt="2025-09-18T18:47:04.806" v="9706" actId="20577"/>
        <pc:sldMkLst>
          <pc:docMk/>
          <pc:sldMk cId="3018409985" sldId="334"/>
        </pc:sldMkLst>
        <pc:spChg chg="mod">
          <ac:chgData name="Mattia Volpato" userId="d4750074-1d82-4b06-bea9-f9f846aceec4" providerId="ADAL" clId="{598E0B15-66F7-4D4D-9F75-C859811114CD}" dt="2025-09-18T18:47:04.806" v="9706" actId="20577"/>
          <ac:spMkLst>
            <pc:docMk/>
            <pc:sldMk cId="3018409985" sldId="334"/>
            <ac:spMk id="4" creationId="{6B49AAC5-0255-7ABF-7631-679664723177}"/>
          </ac:spMkLst>
        </pc:spChg>
        <pc:spChg chg="mod">
          <ac:chgData name="Mattia Volpato" userId="d4750074-1d82-4b06-bea9-f9f846aceec4" providerId="ADAL" clId="{598E0B15-66F7-4D4D-9F75-C859811114CD}" dt="2025-09-17T13:45:10.339" v="5561" actId="207"/>
          <ac:spMkLst>
            <pc:docMk/>
            <pc:sldMk cId="3018409985" sldId="334"/>
            <ac:spMk id="5" creationId="{58BBC862-44E0-450F-97C2-A0022FA64CBB}"/>
          </ac:spMkLst>
        </pc:spChg>
        <pc:spChg chg="mod">
          <ac:chgData name="Mattia Volpato" userId="d4750074-1d82-4b06-bea9-f9f846aceec4" providerId="ADAL" clId="{598E0B15-66F7-4D4D-9F75-C859811114CD}" dt="2025-09-18T18:47:01.740" v="9703" actId="20577"/>
          <ac:spMkLst>
            <pc:docMk/>
            <pc:sldMk cId="3018409985" sldId="334"/>
            <ac:spMk id="20" creationId="{05B34B5C-F3DC-ABEA-D028-F144CEDF9F75}"/>
          </ac:spMkLst>
        </pc:spChg>
      </pc:sldChg>
      <pc:sldChg chg="modSp mod">
        <pc:chgData name="Mattia Volpato" userId="d4750074-1d82-4b06-bea9-f9f846aceec4" providerId="ADAL" clId="{598E0B15-66F7-4D4D-9F75-C859811114CD}" dt="2025-09-17T13:46:14.345" v="5570" actId="207"/>
        <pc:sldMkLst>
          <pc:docMk/>
          <pc:sldMk cId="1440069153" sldId="339"/>
        </pc:sldMkLst>
        <pc:spChg chg="mod">
          <ac:chgData name="Mattia Volpato" userId="d4750074-1d82-4b06-bea9-f9f846aceec4" providerId="ADAL" clId="{598E0B15-66F7-4D4D-9F75-C859811114CD}" dt="2025-09-17T08:31:39.784" v="2070" actId="20577"/>
          <ac:spMkLst>
            <pc:docMk/>
            <pc:sldMk cId="1440069153" sldId="339"/>
            <ac:spMk id="3" creationId="{85F0BC73-D1C8-99B9-AEAA-090EFE260D01}"/>
          </ac:spMkLst>
        </pc:spChg>
        <pc:spChg chg="mod">
          <ac:chgData name="Mattia Volpato" userId="d4750074-1d82-4b06-bea9-f9f846aceec4" providerId="ADAL" clId="{598E0B15-66F7-4D4D-9F75-C859811114CD}" dt="2025-09-17T13:46:12.018" v="5569" actId="207"/>
          <ac:spMkLst>
            <pc:docMk/>
            <pc:sldMk cId="1440069153" sldId="339"/>
            <ac:spMk id="4" creationId="{946639CE-2F27-F6FF-2A78-6ADB8D2785E6}"/>
          </ac:spMkLst>
        </pc:spChg>
        <pc:spChg chg="mod">
          <ac:chgData name="Mattia Volpato" userId="d4750074-1d82-4b06-bea9-f9f846aceec4" providerId="ADAL" clId="{598E0B15-66F7-4D4D-9F75-C859811114CD}" dt="2025-09-17T13:46:14.345" v="5570" actId="207"/>
          <ac:spMkLst>
            <pc:docMk/>
            <pc:sldMk cId="1440069153" sldId="339"/>
            <ac:spMk id="13" creationId="{77AD366E-28EF-5EC5-6E5B-17D292726980}"/>
          </ac:spMkLst>
        </pc:spChg>
        <pc:spChg chg="mod">
          <ac:chgData name="Mattia Volpato" userId="d4750074-1d82-4b06-bea9-f9f846aceec4" providerId="ADAL" clId="{598E0B15-66F7-4D4D-9F75-C859811114CD}" dt="2025-09-17T13:44:27.190" v="5558" actId="20577"/>
          <ac:spMkLst>
            <pc:docMk/>
            <pc:sldMk cId="1440069153" sldId="339"/>
            <ac:spMk id="32" creationId="{0CB8B2B5-4DD5-D52F-5C9D-E8DE884AA5E8}"/>
          </ac:spMkLst>
        </pc:spChg>
      </pc:sldChg>
      <pc:sldChg chg="modSp mod">
        <pc:chgData name="Mattia Volpato" userId="d4750074-1d82-4b06-bea9-f9f846aceec4" providerId="ADAL" clId="{598E0B15-66F7-4D4D-9F75-C859811114CD}" dt="2025-09-17T13:46:22.978" v="5572" actId="207"/>
        <pc:sldMkLst>
          <pc:docMk/>
          <pc:sldMk cId="2813110762" sldId="342"/>
        </pc:sldMkLst>
        <pc:spChg chg="mod">
          <ac:chgData name="Mattia Volpato" userId="d4750074-1d82-4b06-bea9-f9f846aceec4" providerId="ADAL" clId="{598E0B15-66F7-4D4D-9F75-C859811114CD}" dt="2025-09-17T08:31:46.390" v="2074" actId="20577"/>
          <ac:spMkLst>
            <pc:docMk/>
            <pc:sldMk cId="2813110762" sldId="342"/>
            <ac:spMk id="3" creationId="{BCFD3DC0-3A1D-3DC9-BA2A-991BCAD0439D}"/>
          </ac:spMkLst>
        </pc:spChg>
        <pc:spChg chg="mod">
          <ac:chgData name="Mattia Volpato" userId="d4750074-1d82-4b06-bea9-f9f846aceec4" providerId="ADAL" clId="{598E0B15-66F7-4D4D-9F75-C859811114CD}" dt="2025-09-17T13:46:22.978" v="5572" actId="207"/>
          <ac:spMkLst>
            <pc:docMk/>
            <pc:sldMk cId="2813110762" sldId="342"/>
            <ac:spMk id="4" creationId="{FF755D45-087A-58D1-FC13-DF15365FA88D}"/>
          </ac:spMkLst>
        </pc:spChg>
        <pc:spChg chg="mod">
          <ac:chgData name="Mattia Volpato" userId="d4750074-1d82-4b06-bea9-f9f846aceec4" providerId="ADAL" clId="{598E0B15-66F7-4D4D-9F75-C859811114CD}" dt="2025-09-17T13:46:20.317" v="5571" actId="207"/>
          <ac:spMkLst>
            <pc:docMk/>
            <pc:sldMk cId="2813110762" sldId="342"/>
            <ac:spMk id="34" creationId="{3A5DAC6B-5182-626E-2A7B-87A8A0A529BF}"/>
          </ac:spMkLst>
        </pc:spChg>
      </pc:sldChg>
      <pc:sldChg chg="modSp mod">
        <pc:chgData name="Mattia Volpato" userId="d4750074-1d82-4b06-bea9-f9f846aceec4" providerId="ADAL" clId="{598E0B15-66F7-4D4D-9F75-C859811114CD}" dt="2025-09-17T13:46:55.869" v="5582"/>
        <pc:sldMkLst>
          <pc:docMk/>
          <pc:sldMk cId="3701471978" sldId="343"/>
        </pc:sldMkLst>
        <pc:spChg chg="mod">
          <ac:chgData name="Mattia Volpato" userId="d4750074-1d82-4b06-bea9-f9f846aceec4" providerId="ADAL" clId="{598E0B15-66F7-4D4D-9F75-C859811114CD}" dt="2025-09-17T08:31:51.909" v="2078" actId="20577"/>
          <ac:spMkLst>
            <pc:docMk/>
            <pc:sldMk cId="3701471978" sldId="343"/>
            <ac:spMk id="3" creationId="{0F3D367C-5ABE-6E64-AC4C-7F04892453FB}"/>
          </ac:spMkLst>
        </pc:spChg>
        <pc:spChg chg="mod">
          <ac:chgData name="Mattia Volpato" userId="d4750074-1d82-4b06-bea9-f9f846aceec4" providerId="ADAL" clId="{598E0B15-66F7-4D4D-9F75-C859811114CD}" dt="2025-09-17T13:46:30.099" v="5573" actId="207"/>
          <ac:spMkLst>
            <pc:docMk/>
            <pc:sldMk cId="3701471978" sldId="343"/>
            <ac:spMk id="4" creationId="{9194B36E-F097-7DAA-7F98-780C42211225}"/>
          </ac:spMkLst>
        </pc:spChg>
        <pc:spChg chg="mod">
          <ac:chgData name="Mattia Volpato" userId="d4750074-1d82-4b06-bea9-f9f846aceec4" providerId="ADAL" clId="{598E0B15-66F7-4D4D-9F75-C859811114CD}" dt="2025-09-17T13:46:33.936" v="5574" actId="207"/>
          <ac:spMkLst>
            <pc:docMk/>
            <pc:sldMk cId="3701471978" sldId="343"/>
            <ac:spMk id="29" creationId="{4FFEB157-6598-6A70-1061-5D6959356F5B}"/>
          </ac:spMkLst>
        </pc:spChg>
        <pc:spChg chg="mod">
          <ac:chgData name="Mattia Volpato" userId="d4750074-1d82-4b06-bea9-f9f846aceec4" providerId="ADAL" clId="{598E0B15-66F7-4D4D-9F75-C859811114CD}" dt="2025-09-17T13:46:55.869" v="5582"/>
          <ac:spMkLst>
            <pc:docMk/>
            <pc:sldMk cId="3701471978" sldId="343"/>
            <ac:spMk id="32" creationId="{299BD239-8525-7C42-3FBF-F49541C21847}"/>
          </ac:spMkLst>
        </pc:spChg>
      </pc:sldChg>
      <pc:sldChg chg="modSp mod">
        <pc:chgData name="Mattia Volpato" userId="d4750074-1d82-4b06-bea9-f9f846aceec4" providerId="ADAL" clId="{598E0B15-66F7-4D4D-9F75-C859811114CD}" dt="2025-09-18T20:09:45.257" v="10960" actId="114"/>
        <pc:sldMkLst>
          <pc:docMk/>
          <pc:sldMk cId="943570920" sldId="344"/>
        </pc:sldMkLst>
        <pc:spChg chg="mod">
          <ac:chgData name="Mattia Volpato" userId="d4750074-1d82-4b06-bea9-f9f846aceec4" providerId="ADAL" clId="{598E0B15-66F7-4D4D-9F75-C859811114CD}" dt="2025-09-17T08:32:37.241" v="2085" actId="20577"/>
          <ac:spMkLst>
            <pc:docMk/>
            <pc:sldMk cId="943570920" sldId="344"/>
            <ac:spMk id="3" creationId="{3A5183BE-7662-D7A6-63E2-E298A53D2A6A}"/>
          </ac:spMkLst>
        </pc:spChg>
        <pc:spChg chg="mod">
          <ac:chgData name="Mattia Volpato" userId="d4750074-1d82-4b06-bea9-f9f846aceec4" providerId="ADAL" clId="{598E0B15-66F7-4D4D-9F75-C859811114CD}" dt="2025-09-18T20:09:45.257" v="10960" actId="114"/>
          <ac:spMkLst>
            <pc:docMk/>
            <pc:sldMk cId="943570920" sldId="344"/>
            <ac:spMk id="6" creationId="{4A3AFB96-3BAE-2849-6AD1-A1722B6C5042}"/>
          </ac:spMkLst>
        </pc:spChg>
        <pc:spChg chg="mod">
          <ac:chgData name="Mattia Volpato" userId="d4750074-1d82-4b06-bea9-f9f846aceec4" providerId="ADAL" clId="{598E0B15-66F7-4D4D-9F75-C859811114CD}" dt="2025-09-17T13:48:31.343" v="5591" actId="207"/>
          <ac:spMkLst>
            <pc:docMk/>
            <pc:sldMk cId="943570920" sldId="344"/>
            <ac:spMk id="16" creationId="{32E01815-593B-207E-734C-E6F3E74BB845}"/>
          </ac:spMkLst>
        </pc:spChg>
      </pc:sldChg>
      <pc:sldChg chg="modSp mod">
        <pc:chgData name="Mattia Volpato" userId="d4750074-1d82-4b06-bea9-f9f846aceec4" providerId="ADAL" clId="{598E0B15-66F7-4D4D-9F75-C859811114CD}" dt="2025-09-18T14:45:47.648" v="7146" actId="113"/>
        <pc:sldMkLst>
          <pc:docMk/>
          <pc:sldMk cId="686547249" sldId="345"/>
        </pc:sldMkLst>
        <pc:spChg chg="mod">
          <ac:chgData name="Mattia Volpato" userId="d4750074-1d82-4b06-bea9-f9f846aceec4" providerId="ADAL" clId="{598E0B15-66F7-4D4D-9F75-C859811114CD}" dt="2025-09-17T08:32:43.515" v="2089" actId="20577"/>
          <ac:spMkLst>
            <pc:docMk/>
            <pc:sldMk cId="686547249" sldId="345"/>
            <ac:spMk id="3" creationId="{0C54B159-F123-E23D-4F4F-F5D2668BB0B5}"/>
          </ac:spMkLst>
        </pc:spChg>
        <pc:spChg chg="mod">
          <ac:chgData name="Mattia Volpato" userId="d4750074-1d82-4b06-bea9-f9f846aceec4" providerId="ADAL" clId="{598E0B15-66F7-4D4D-9F75-C859811114CD}" dt="2025-09-18T14:45:47.648" v="7146" actId="113"/>
          <ac:spMkLst>
            <pc:docMk/>
            <pc:sldMk cId="686547249" sldId="345"/>
            <ac:spMk id="6" creationId="{9DFB7A4B-1D49-B2F9-52F0-D8C741D3DD4F}"/>
          </ac:spMkLst>
        </pc:spChg>
        <pc:spChg chg="mod">
          <ac:chgData name="Mattia Volpato" userId="d4750074-1d82-4b06-bea9-f9f846aceec4" providerId="ADAL" clId="{598E0B15-66F7-4D4D-9F75-C859811114CD}" dt="2025-09-17T13:48:36.384" v="5592" actId="207"/>
          <ac:spMkLst>
            <pc:docMk/>
            <pc:sldMk cId="686547249" sldId="345"/>
            <ac:spMk id="16" creationId="{F3887584-7C25-1440-99CE-4351BDCBDC25}"/>
          </ac:spMkLst>
        </pc:spChg>
      </pc:sldChg>
      <pc:sldChg chg="modSp mod">
        <pc:chgData name="Mattia Volpato" userId="d4750074-1d82-4b06-bea9-f9f846aceec4" providerId="ADAL" clId="{598E0B15-66F7-4D4D-9F75-C859811114CD}" dt="2025-09-18T20:10:36.437" v="10978" actId="20577"/>
        <pc:sldMkLst>
          <pc:docMk/>
          <pc:sldMk cId="757770832" sldId="346"/>
        </pc:sldMkLst>
        <pc:spChg chg="mod">
          <ac:chgData name="Mattia Volpato" userId="d4750074-1d82-4b06-bea9-f9f846aceec4" providerId="ADAL" clId="{598E0B15-66F7-4D4D-9F75-C859811114CD}" dt="2025-09-18T18:10:54.599" v="8649" actId="20577"/>
          <ac:spMkLst>
            <pc:docMk/>
            <pc:sldMk cId="757770832" sldId="346"/>
            <ac:spMk id="3" creationId="{5B300089-B254-D1C6-A8DB-9F5ACF1A2CC7}"/>
          </ac:spMkLst>
        </pc:spChg>
        <pc:spChg chg="mod">
          <ac:chgData name="Mattia Volpato" userId="d4750074-1d82-4b06-bea9-f9f846aceec4" providerId="ADAL" clId="{598E0B15-66F7-4D4D-9F75-C859811114CD}" dt="2025-09-18T20:10:36.437" v="10978" actId="20577"/>
          <ac:spMkLst>
            <pc:docMk/>
            <pc:sldMk cId="757770832" sldId="346"/>
            <ac:spMk id="6" creationId="{3ED8BB6C-BE9B-E0A4-473D-B2F18E521DEA}"/>
          </ac:spMkLst>
        </pc:spChg>
        <pc:spChg chg="mod">
          <ac:chgData name="Mattia Volpato" userId="d4750074-1d82-4b06-bea9-f9f846aceec4" providerId="ADAL" clId="{598E0B15-66F7-4D4D-9F75-C859811114CD}" dt="2025-09-17T13:48:40.152" v="5593" actId="207"/>
          <ac:spMkLst>
            <pc:docMk/>
            <pc:sldMk cId="757770832" sldId="346"/>
            <ac:spMk id="16" creationId="{B5B5CB8D-37E4-AFA2-1820-14F3F8DA6ECF}"/>
          </ac:spMkLst>
        </pc:spChg>
      </pc:sldChg>
      <pc:sldChg chg="modSp mod">
        <pc:chgData name="Mattia Volpato" userId="d4750074-1d82-4b06-bea9-f9f846aceec4" providerId="ADAL" clId="{598E0B15-66F7-4D4D-9F75-C859811114CD}" dt="2025-09-18T20:11:28.099" v="10981" actId="113"/>
        <pc:sldMkLst>
          <pc:docMk/>
          <pc:sldMk cId="931499201" sldId="347"/>
        </pc:sldMkLst>
        <pc:spChg chg="mod">
          <ac:chgData name="Mattia Volpato" userId="d4750074-1d82-4b06-bea9-f9f846aceec4" providerId="ADAL" clId="{598E0B15-66F7-4D4D-9F75-C859811114CD}" dt="2025-09-18T18:11:01.294" v="8655" actId="20577"/>
          <ac:spMkLst>
            <pc:docMk/>
            <pc:sldMk cId="931499201" sldId="347"/>
            <ac:spMk id="3" creationId="{B1A02F24-03AC-5414-3C41-450B7AF74D6F}"/>
          </ac:spMkLst>
        </pc:spChg>
        <pc:spChg chg="mod">
          <ac:chgData name="Mattia Volpato" userId="d4750074-1d82-4b06-bea9-f9f846aceec4" providerId="ADAL" clId="{598E0B15-66F7-4D4D-9F75-C859811114CD}" dt="2025-09-18T20:11:28.099" v="10981" actId="113"/>
          <ac:spMkLst>
            <pc:docMk/>
            <pc:sldMk cId="931499201" sldId="347"/>
            <ac:spMk id="6" creationId="{078BB124-5CFE-4DC8-7C4A-A790AB5BEB52}"/>
          </ac:spMkLst>
        </pc:spChg>
        <pc:spChg chg="mod">
          <ac:chgData name="Mattia Volpato" userId="d4750074-1d82-4b06-bea9-f9f846aceec4" providerId="ADAL" clId="{598E0B15-66F7-4D4D-9F75-C859811114CD}" dt="2025-09-17T13:48:47.128" v="5594" actId="207"/>
          <ac:spMkLst>
            <pc:docMk/>
            <pc:sldMk cId="931499201" sldId="347"/>
            <ac:spMk id="16" creationId="{DFACC9B2-A3D9-B509-EF69-C5D0E2761BDF}"/>
          </ac:spMkLst>
        </pc:spChg>
      </pc:sldChg>
      <pc:sldChg chg="modSp mod">
        <pc:chgData name="Mattia Volpato" userId="d4750074-1d82-4b06-bea9-f9f846aceec4" providerId="ADAL" clId="{598E0B15-66F7-4D4D-9F75-C859811114CD}" dt="2025-09-18T18:34:53.067" v="9218" actId="1076"/>
        <pc:sldMkLst>
          <pc:docMk/>
          <pc:sldMk cId="1435670733" sldId="348"/>
        </pc:sldMkLst>
        <pc:spChg chg="mod">
          <ac:chgData name="Mattia Volpato" userId="d4750074-1d82-4b06-bea9-f9f846aceec4" providerId="ADAL" clId="{598E0B15-66F7-4D4D-9F75-C859811114CD}" dt="2025-09-17T13:48:18.494" v="5590" actId="207"/>
          <ac:spMkLst>
            <pc:docMk/>
            <pc:sldMk cId="1435670733" sldId="348"/>
            <ac:spMk id="16" creationId="{086C34C7-B53B-C6A3-398D-77B115ED7E32}"/>
          </ac:spMkLst>
        </pc:spChg>
        <pc:spChg chg="mod">
          <ac:chgData name="Mattia Volpato" userId="d4750074-1d82-4b06-bea9-f9f846aceec4" providerId="ADAL" clId="{598E0B15-66F7-4D4D-9F75-C859811114CD}" dt="2025-09-18T13:38:02.372" v="5611" actId="1076"/>
          <ac:spMkLst>
            <pc:docMk/>
            <pc:sldMk cId="1435670733" sldId="348"/>
            <ac:spMk id="18" creationId="{661A168F-2573-A9DF-9D09-21833ACCD594}"/>
          </ac:spMkLst>
        </pc:spChg>
        <pc:graphicFrameChg chg="mod">
          <ac:chgData name="Mattia Volpato" userId="d4750074-1d82-4b06-bea9-f9f846aceec4" providerId="ADAL" clId="{598E0B15-66F7-4D4D-9F75-C859811114CD}" dt="2025-09-18T18:34:53.067" v="9218" actId="1076"/>
          <ac:graphicFrameMkLst>
            <pc:docMk/>
            <pc:sldMk cId="1435670733" sldId="348"/>
            <ac:graphicFrameMk id="4" creationId="{E85360A1-CC52-9DBA-484F-4F1FE0FF9F7E}"/>
          </ac:graphicFrameMkLst>
        </pc:graphicFrameChg>
      </pc:sldChg>
      <pc:sldChg chg="add del">
        <pc:chgData name="Mattia Volpato" userId="d4750074-1d82-4b06-bea9-f9f846aceec4" providerId="ADAL" clId="{598E0B15-66F7-4D4D-9F75-C859811114CD}" dt="2025-09-17T07:03:54.970" v="1" actId="2696"/>
        <pc:sldMkLst>
          <pc:docMk/>
          <pc:sldMk cId="422093976" sldId="349"/>
        </pc:sldMkLst>
      </pc:sldChg>
      <pc:sldChg chg="addSp delSp modSp add mod">
        <pc:chgData name="Mattia Volpato" userId="d4750074-1d82-4b06-bea9-f9f846aceec4" providerId="ADAL" clId="{598E0B15-66F7-4D4D-9F75-C859811114CD}" dt="2025-09-18T20:07:19.758" v="10955" actId="14100"/>
        <pc:sldMkLst>
          <pc:docMk/>
          <pc:sldMk cId="3523351693" sldId="349"/>
        </pc:sldMkLst>
        <pc:spChg chg="del">
          <ac:chgData name="Mattia Volpato" userId="d4750074-1d82-4b06-bea9-f9f846aceec4" providerId="ADAL" clId="{598E0B15-66F7-4D4D-9F75-C859811114CD}" dt="2025-09-18T18:37:34.729" v="9228" actId="478"/>
          <ac:spMkLst>
            <pc:docMk/>
            <pc:sldMk cId="3523351693" sldId="349"/>
            <ac:spMk id="2" creationId="{EB9E416B-F2C9-A4A1-9E56-9593F28F9492}"/>
          </ac:spMkLst>
        </pc:spChg>
        <pc:spChg chg="mod">
          <ac:chgData name="Mattia Volpato" userId="d4750074-1d82-4b06-bea9-f9f846aceec4" providerId="ADAL" clId="{598E0B15-66F7-4D4D-9F75-C859811114CD}" dt="2025-09-18T19:58:21.417" v="10690" actId="20577"/>
          <ac:spMkLst>
            <pc:docMk/>
            <pc:sldMk cId="3523351693" sldId="349"/>
            <ac:spMk id="3" creationId="{5BD0F1DF-E93D-955B-8518-614EC3471483}"/>
          </ac:spMkLst>
        </pc:spChg>
        <pc:spChg chg="del mod">
          <ac:chgData name="Mattia Volpato" userId="d4750074-1d82-4b06-bea9-f9f846aceec4" providerId="ADAL" clId="{598E0B15-66F7-4D4D-9F75-C859811114CD}" dt="2025-09-18T18:37:37.696" v="9231" actId="478"/>
          <ac:spMkLst>
            <pc:docMk/>
            <pc:sldMk cId="3523351693" sldId="349"/>
            <ac:spMk id="4" creationId="{2F26523D-D9D9-E40A-435D-2201B07B38B8}"/>
          </ac:spMkLst>
        </pc:spChg>
        <pc:spChg chg="mod">
          <ac:chgData name="Mattia Volpato" userId="d4750074-1d82-4b06-bea9-f9f846aceec4" providerId="ADAL" clId="{598E0B15-66F7-4D4D-9F75-C859811114CD}" dt="2025-09-17T07:04:02.927" v="10" actId="20577"/>
          <ac:spMkLst>
            <pc:docMk/>
            <pc:sldMk cId="3523351693" sldId="349"/>
            <ac:spMk id="6" creationId="{3AE55670-9940-3007-4679-B68BD4461411}"/>
          </ac:spMkLst>
        </pc:spChg>
        <pc:spChg chg="add del mod">
          <ac:chgData name="Mattia Volpato" userId="d4750074-1d82-4b06-bea9-f9f846aceec4" providerId="ADAL" clId="{598E0B15-66F7-4D4D-9F75-C859811114CD}" dt="2025-09-18T18:51:12.721" v="9737"/>
          <ac:spMkLst>
            <pc:docMk/>
            <pc:sldMk cId="3523351693" sldId="349"/>
            <ac:spMk id="9" creationId="{2A27320F-389F-9F39-B127-8239FCAFF839}"/>
          </ac:spMkLst>
        </pc:spChg>
        <pc:spChg chg="add del mod">
          <ac:chgData name="Mattia Volpato" userId="d4750074-1d82-4b06-bea9-f9f846aceec4" providerId="ADAL" clId="{598E0B15-66F7-4D4D-9F75-C859811114CD}" dt="2025-09-18T18:51:12.722" v="9739"/>
          <ac:spMkLst>
            <pc:docMk/>
            <pc:sldMk cId="3523351693" sldId="349"/>
            <ac:spMk id="10" creationId="{DA7BEF2A-208E-7CDE-277A-CB855F81A710}"/>
          </ac:spMkLst>
        </pc:spChg>
        <pc:spChg chg="add del mod">
          <ac:chgData name="Mattia Volpato" userId="d4750074-1d82-4b06-bea9-f9f846aceec4" providerId="ADAL" clId="{598E0B15-66F7-4D4D-9F75-C859811114CD}" dt="2025-09-18T18:49:30.476" v="9711" actId="478"/>
          <ac:spMkLst>
            <pc:docMk/>
            <pc:sldMk cId="3523351693" sldId="349"/>
            <ac:spMk id="11" creationId="{C240C0BF-CC63-4222-E0E2-AA47245DFA40}"/>
          </ac:spMkLst>
        </pc:spChg>
        <pc:spChg chg="add del mod">
          <ac:chgData name="Mattia Volpato" userId="d4750074-1d82-4b06-bea9-f9f846aceec4" providerId="ADAL" clId="{598E0B15-66F7-4D4D-9F75-C859811114CD}" dt="2025-09-18T18:51:21.910" v="9741" actId="478"/>
          <ac:spMkLst>
            <pc:docMk/>
            <pc:sldMk cId="3523351693" sldId="349"/>
            <ac:spMk id="12" creationId="{91D76071-B1C6-BF5E-0F1A-84F96E5950ED}"/>
          </ac:spMkLst>
        </pc:spChg>
        <pc:spChg chg="add del mod">
          <ac:chgData name="Mattia Volpato" userId="d4750074-1d82-4b06-bea9-f9f846aceec4" providerId="ADAL" clId="{598E0B15-66F7-4D4D-9F75-C859811114CD}" dt="2025-09-18T19:02:56.429" v="9891" actId="478"/>
          <ac:spMkLst>
            <pc:docMk/>
            <pc:sldMk cId="3523351693" sldId="349"/>
            <ac:spMk id="13" creationId="{5494106F-D468-42D4-72B0-B41CCF8B2A1B}"/>
          </ac:spMkLst>
        </pc:spChg>
        <pc:spChg chg="add del mod">
          <ac:chgData name="Mattia Volpato" userId="d4750074-1d82-4b06-bea9-f9f846aceec4" providerId="ADAL" clId="{598E0B15-66F7-4D4D-9F75-C859811114CD}" dt="2025-09-18T18:52:32.812" v="9758" actId="478"/>
          <ac:spMkLst>
            <pc:docMk/>
            <pc:sldMk cId="3523351693" sldId="349"/>
            <ac:spMk id="14" creationId="{55EABB38-FC84-1F7D-5FF0-E82261D73A68}"/>
          </ac:spMkLst>
        </pc:spChg>
        <pc:spChg chg="add del mod">
          <ac:chgData name="Mattia Volpato" userId="d4750074-1d82-4b06-bea9-f9f846aceec4" providerId="ADAL" clId="{598E0B15-66F7-4D4D-9F75-C859811114CD}" dt="2025-09-18T18:52:47.302" v="9768" actId="478"/>
          <ac:spMkLst>
            <pc:docMk/>
            <pc:sldMk cId="3523351693" sldId="349"/>
            <ac:spMk id="15" creationId="{B13941C1-0D80-6E62-E7FE-3B55D6475A16}"/>
          </ac:spMkLst>
        </pc:spChg>
        <pc:spChg chg="add del mod">
          <ac:chgData name="Mattia Volpato" userId="d4750074-1d82-4b06-bea9-f9f846aceec4" providerId="ADAL" clId="{598E0B15-66F7-4D4D-9F75-C859811114CD}" dt="2025-09-18T18:51:12.720" v="9735" actId="478"/>
          <ac:spMkLst>
            <pc:docMk/>
            <pc:sldMk cId="3523351693" sldId="349"/>
            <ac:spMk id="16" creationId="{F451FCDB-BB62-2EC3-4AE7-FC54B3ABF5BD}"/>
          </ac:spMkLst>
        </pc:spChg>
        <pc:spChg chg="add del mod">
          <ac:chgData name="Mattia Volpato" userId="d4750074-1d82-4b06-bea9-f9f846aceec4" providerId="ADAL" clId="{598E0B15-66F7-4D4D-9F75-C859811114CD}" dt="2025-09-18T19:02:26.578" v="9875" actId="478"/>
          <ac:spMkLst>
            <pc:docMk/>
            <pc:sldMk cId="3523351693" sldId="349"/>
            <ac:spMk id="17" creationId="{FEFEE4F1-7D24-90BA-A199-69DF34008A86}"/>
          </ac:spMkLst>
        </pc:spChg>
        <pc:spChg chg="add del mod">
          <ac:chgData name="Mattia Volpato" userId="d4750074-1d82-4b06-bea9-f9f846aceec4" providerId="ADAL" clId="{598E0B15-66F7-4D4D-9F75-C859811114CD}" dt="2025-09-18T19:02:27.280" v="9876" actId="478"/>
          <ac:spMkLst>
            <pc:docMk/>
            <pc:sldMk cId="3523351693" sldId="349"/>
            <ac:spMk id="18" creationId="{A9E1F34C-92B8-C32B-6FED-301DCF67FDB3}"/>
          </ac:spMkLst>
        </pc:spChg>
        <pc:spChg chg="del">
          <ac:chgData name="Mattia Volpato" userId="d4750074-1d82-4b06-bea9-f9f846aceec4" providerId="ADAL" clId="{598E0B15-66F7-4D4D-9F75-C859811114CD}" dt="2025-09-18T18:37:36.176" v="9229" actId="478"/>
          <ac:spMkLst>
            <pc:docMk/>
            <pc:sldMk cId="3523351693" sldId="349"/>
            <ac:spMk id="19" creationId="{E390DBB0-284A-6952-B03F-6F222FBFDD26}"/>
          </ac:spMkLst>
        </pc:spChg>
        <pc:spChg chg="add del mod">
          <ac:chgData name="Mattia Volpato" userId="d4750074-1d82-4b06-bea9-f9f846aceec4" providerId="ADAL" clId="{598E0B15-66F7-4D4D-9F75-C859811114CD}" dt="2025-09-18T19:00:13.869" v="9837" actId="478"/>
          <ac:spMkLst>
            <pc:docMk/>
            <pc:sldMk cId="3523351693" sldId="349"/>
            <ac:spMk id="20" creationId="{3FF1935D-4F9F-0DC4-6A7B-8AA476BBE5ED}"/>
          </ac:spMkLst>
        </pc:spChg>
        <pc:spChg chg="del">
          <ac:chgData name="Mattia Volpato" userId="d4750074-1d82-4b06-bea9-f9f846aceec4" providerId="ADAL" clId="{598E0B15-66F7-4D4D-9F75-C859811114CD}" dt="2025-09-18T18:37:38.747" v="9232" actId="478"/>
          <ac:spMkLst>
            <pc:docMk/>
            <pc:sldMk cId="3523351693" sldId="349"/>
            <ac:spMk id="21" creationId="{038E6F92-AAA3-761B-3ADE-AC84521B1F9D}"/>
          </ac:spMkLst>
        </pc:spChg>
        <pc:spChg chg="add del mod">
          <ac:chgData name="Mattia Volpato" userId="d4750074-1d82-4b06-bea9-f9f846aceec4" providerId="ADAL" clId="{598E0B15-66F7-4D4D-9F75-C859811114CD}" dt="2025-09-18T19:01:24.128" v="9848" actId="478"/>
          <ac:spMkLst>
            <pc:docMk/>
            <pc:sldMk cId="3523351693" sldId="349"/>
            <ac:spMk id="29" creationId="{D1A97FED-58F3-D12D-352E-B1085A27A8EC}"/>
          </ac:spMkLst>
        </pc:spChg>
        <pc:spChg chg="add mod">
          <ac:chgData name="Mattia Volpato" userId="d4750074-1d82-4b06-bea9-f9f846aceec4" providerId="ADAL" clId="{598E0B15-66F7-4D4D-9F75-C859811114CD}" dt="2025-09-18T20:07:19.758" v="10955" actId="14100"/>
          <ac:spMkLst>
            <pc:docMk/>
            <pc:sldMk cId="3523351693" sldId="349"/>
            <ac:spMk id="30" creationId="{78BB14F6-587D-BDFE-F445-27FFC4F456B6}"/>
          </ac:spMkLst>
        </pc:spChg>
        <pc:spChg chg="add mod">
          <ac:chgData name="Mattia Volpato" userId="d4750074-1d82-4b06-bea9-f9f846aceec4" providerId="ADAL" clId="{598E0B15-66F7-4D4D-9F75-C859811114CD}" dt="2025-09-18T19:46:13.095" v="10360" actId="1076"/>
          <ac:spMkLst>
            <pc:docMk/>
            <pc:sldMk cId="3523351693" sldId="349"/>
            <ac:spMk id="31" creationId="{81A706E0-A680-EE68-0779-C2CEA6F7EF9F}"/>
          </ac:spMkLst>
        </pc:spChg>
        <pc:spChg chg="add mod">
          <ac:chgData name="Mattia Volpato" userId="d4750074-1d82-4b06-bea9-f9f846aceec4" providerId="ADAL" clId="{598E0B15-66F7-4D4D-9F75-C859811114CD}" dt="2025-09-18T19:45:48.242" v="10352" actId="14100"/>
          <ac:spMkLst>
            <pc:docMk/>
            <pc:sldMk cId="3523351693" sldId="349"/>
            <ac:spMk id="32" creationId="{4387627C-7727-415F-186A-10E54162F02C}"/>
          </ac:spMkLst>
        </pc:spChg>
        <pc:spChg chg="add del mod">
          <ac:chgData name="Mattia Volpato" userId="d4750074-1d82-4b06-bea9-f9f846aceec4" providerId="ADAL" clId="{598E0B15-66F7-4D4D-9F75-C859811114CD}" dt="2025-09-18T19:02:56.429" v="9893"/>
          <ac:spMkLst>
            <pc:docMk/>
            <pc:sldMk cId="3523351693" sldId="349"/>
            <ac:spMk id="33" creationId="{0282F517-FA8C-3E9C-7FD2-14A1BF042FB3}"/>
          </ac:spMkLst>
        </pc:spChg>
        <pc:spChg chg="add mod">
          <ac:chgData name="Mattia Volpato" userId="d4750074-1d82-4b06-bea9-f9f846aceec4" providerId="ADAL" clId="{598E0B15-66F7-4D4D-9F75-C859811114CD}" dt="2025-09-18T19:48:30.550" v="10420" actId="2711"/>
          <ac:spMkLst>
            <pc:docMk/>
            <pc:sldMk cId="3523351693" sldId="349"/>
            <ac:spMk id="34" creationId="{DD8B54D1-5DEE-110C-8C98-25B429C51F66}"/>
          </ac:spMkLst>
        </pc:spChg>
        <pc:spChg chg="add mod">
          <ac:chgData name="Mattia Volpato" userId="d4750074-1d82-4b06-bea9-f9f846aceec4" providerId="ADAL" clId="{598E0B15-66F7-4D4D-9F75-C859811114CD}" dt="2025-09-18T19:46:01.573" v="10357" actId="1076"/>
          <ac:spMkLst>
            <pc:docMk/>
            <pc:sldMk cId="3523351693" sldId="349"/>
            <ac:spMk id="35" creationId="{0EAD8ABC-5A89-FBD5-8EFB-6EEFDECCB912}"/>
          </ac:spMkLst>
        </pc:spChg>
        <pc:spChg chg="add mod">
          <ac:chgData name="Mattia Volpato" userId="d4750074-1d82-4b06-bea9-f9f846aceec4" providerId="ADAL" clId="{598E0B15-66F7-4D4D-9F75-C859811114CD}" dt="2025-09-18T20:07:09.859" v="10954" actId="113"/>
          <ac:spMkLst>
            <pc:docMk/>
            <pc:sldMk cId="3523351693" sldId="349"/>
            <ac:spMk id="36" creationId="{8FC020BE-EBF6-3DBA-EBB6-D94934C26798}"/>
          </ac:spMkLst>
        </pc:spChg>
        <pc:spChg chg="add del mod">
          <ac:chgData name="Mattia Volpato" userId="d4750074-1d82-4b06-bea9-f9f846aceec4" providerId="ADAL" clId="{598E0B15-66F7-4D4D-9F75-C859811114CD}" dt="2025-09-18T19:11:57.284" v="10195" actId="478"/>
          <ac:spMkLst>
            <pc:docMk/>
            <pc:sldMk cId="3523351693" sldId="349"/>
            <ac:spMk id="37" creationId="{3B51F991-C6D2-3898-38A3-00DFDB7EB3F3}"/>
          </ac:spMkLst>
        </pc:spChg>
        <pc:spChg chg="add del mod">
          <ac:chgData name="Mattia Volpato" userId="d4750074-1d82-4b06-bea9-f9f846aceec4" providerId="ADAL" clId="{598E0B15-66F7-4D4D-9F75-C859811114CD}" dt="2025-09-18T19:12:02.393" v="10197" actId="478"/>
          <ac:spMkLst>
            <pc:docMk/>
            <pc:sldMk cId="3523351693" sldId="349"/>
            <ac:spMk id="38" creationId="{273F9CB8-0C92-8AC5-4E6A-1B690E357255}"/>
          </ac:spMkLst>
        </pc:spChg>
        <pc:picChg chg="del">
          <ac:chgData name="Mattia Volpato" userId="d4750074-1d82-4b06-bea9-f9f846aceec4" providerId="ADAL" clId="{598E0B15-66F7-4D4D-9F75-C859811114CD}" dt="2025-09-18T18:37:39.832" v="9234" actId="478"/>
          <ac:picMkLst>
            <pc:docMk/>
            <pc:sldMk cId="3523351693" sldId="349"/>
            <ac:picMk id="5" creationId="{08842CA7-27F6-A609-E379-F8E4D2C17507}"/>
          </ac:picMkLst>
        </pc:picChg>
        <pc:picChg chg="del">
          <ac:chgData name="Mattia Volpato" userId="d4750074-1d82-4b06-bea9-f9f846aceec4" providerId="ADAL" clId="{598E0B15-66F7-4D4D-9F75-C859811114CD}" dt="2025-09-18T18:37:39.339" v="9233" actId="478"/>
          <ac:picMkLst>
            <pc:docMk/>
            <pc:sldMk cId="3523351693" sldId="349"/>
            <ac:picMk id="7" creationId="{E3314D13-0782-D344-6901-D1958C3FCCA4}"/>
          </ac:picMkLst>
        </pc:picChg>
        <pc:cxnChg chg="add del mod">
          <ac:chgData name="Mattia Volpato" userId="d4750074-1d82-4b06-bea9-f9f846aceec4" providerId="ADAL" clId="{598E0B15-66F7-4D4D-9F75-C859811114CD}" dt="2025-09-18T19:00:16.640" v="9839" actId="478"/>
          <ac:cxnSpMkLst>
            <pc:docMk/>
            <pc:sldMk cId="3523351693" sldId="349"/>
            <ac:cxnSpMk id="23" creationId="{B69E75FE-F330-E1A8-81D8-DE4BC3F960D4}"/>
          </ac:cxnSpMkLst>
        </pc:cxnChg>
      </pc:sldChg>
      <pc:sldChg chg="addSp delSp modSp add mod">
        <pc:chgData name="Mattia Volpato" userId="d4750074-1d82-4b06-bea9-f9f846aceec4" providerId="ADAL" clId="{598E0B15-66F7-4D4D-9F75-C859811114CD}" dt="2025-09-17T09:28:04.303" v="4086" actId="20577"/>
        <pc:sldMkLst>
          <pc:docMk/>
          <pc:sldMk cId="3611570287" sldId="350"/>
        </pc:sldMkLst>
        <pc:spChg chg="del">
          <ac:chgData name="Mattia Volpato" userId="d4750074-1d82-4b06-bea9-f9f846aceec4" providerId="ADAL" clId="{598E0B15-66F7-4D4D-9F75-C859811114CD}" dt="2025-09-17T07:04:37.702" v="33" actId="478"/>
          <ac:spMkLst>
            <pc:docMk/>
            <pc:sldMk cId="3611570287" sldId="350"/>
            <ac:spMk id="6" creationId="{ACB25874-0DD7-96DD-38C7-AF6940886A09}"/>
          </ac:spMkLst>
        </pc:spChg>
        <pc:spChg chg="del">
          <ac:chgData name="Mattia Volpato" userId="d4750074-1d82-4b06-bea9-f9f846aceec4" providerId="ADAL" clId="{598E0B15-66F7-4D4D-9F75-C859811114CD}" dt="2025-09-17T07:04:40.243" v="35" actId="478"/>
          <ac:spMkLst>
            <pc:docMk/>
            <pc:sldMk cId="3611570287" sldId="350"/>
            <ac:spMk id="7" creationId="{D5BBF1CD-1F41-375C-9B49-B164E29A1615}"/>
          </ac:spMkLst>
        </pc:spChg>
        <pc:spChg chg="del mod">
          <ac:chgData name="Mattia Volpato" userId="d4750074-1d82-4b06-bea9-f9f846aceec4" providerId="ADAL" clId="{598E0B15-66F7-4D4D-9F75-C859811114CD}" dt="2025-09-17T07:04:45.504" v="39" actId="478"/>
          <ac:spMkLst>
            <pc:docMk/>
            <pc:sldMk cId="3611570287" sldId="350"/>
            <ac:spMk id="8" creationId="{7C356079-00F3-9C05-047E-686531B74A03}"/>
          </ac:spMkLst>
        </pc:spChg>
        <pc:spChg chg="del mod">
          <ac:chgData name="Mattia Volpato" userId="d4750074-1d82-4b06-bea9-f9f846aceec4" providerId="ADAL" clId="{598E0B15-66F7-4D4D-9F75-C859811114CD}" dt="2025-09-17T07:04:34.590" v="30" actId="478"/>
          <ac:spMkLst>
            <pc:docMk/>
            <pc:sldMk cId="3611570287" sldId="350"/>
            <ac:spMk id="16" creationId="{91795C17-D9F9-1BB7-7572-704FAB0B4CB4}"/>
          </ac:spMkLst>
        </pc:spChg>
        <pc:spChg chg="del">
          <ac:chgData name="Mattia Volpato" userId="d4750074-1d82-4b06-bea9-f9f846aceec4" providerId="ADAL" clId="{598E0B15-66F7-4D4D-9F75-C859811114CD}" dt="2025-09-17T07:04:41.904" v="36" actId="478"/>
          <ac:spMkLst>
            <pc:docMk/>
            <pc:sldMk cId="3611570287" sldId="350"/>
            <ac:spMk id="17" creationId="{07FF22C4-ECC2-562F-71D9-67508B58AD7E}"/>
          </ac:spMkLst>
        </pc:spChg>
        <pc:spChg chg="del mod">
          <ac:chgData name="Mattia Volpato" userId="d4750074-1d82-4b06-bea9-f9f846aceec4" providerId="ADAL" clId="{598E0B15-66F7-4D4D-9F75-C859811114CD}" dt="2025-09-17T07:04:38.497" v="34" actId="478"/>
          <ac:spMkLst>
            <pc:docMk/>
            <pc:sldMk cId="3611570287" sldId="350"/>
            <ac:spMk id="18" creationId="{BFB64D1E-1833-2070-7AE8-8E7E3D28AE05}"/>
          </ac:spMkLst>
        </pc:spChg>
        <pc:spChg chg="del">
          <ac:chgData name="Mattia Volpato" userId="d4750074-1d82-4b06-bea9-f9f846aceec4" providerId="ADAL" clId="{598E0B15-66F7-4D4D-9F75-C859811114CD}" dt="2025-09-17T07:04:42.837" v="37" actId="478"/>
          <ac:spMkLst>
            <pc:docMk/>
            <pc:sldMk cId="3611570287" sldId="350"/>
            <ac:spMk id="19" creationId="{1B6E3438-8733-2BB7-7688-A540E8059BD2}"/>
          </ac:spMkLst>
        </pc:spChg>
        <pc:spChg chg="del mod">
          <ac:chgData name="Mattia Volpato" userId="d4750074-1d82-4b06-bea9-f9f846aceec4" providerId="ADAL" clId="{598E0B15-66F7-4D4D-9F75-C859811114CD}" dt="2025-09-17T07:04:35.515" v="31" actId="478"/>
          <ac:spMkLst>
            <pc:docMk/>
            <pc:sldMk cId="3611570287" sldId="350"/>
            <ac:spMk id="20" creationId="{921EC288-39DB-2C52-0A73-EC4E66E7A110}"/>
          </ac:spMkLst>
        </pc:spChg>
        <pc:spChg chg="add mod">
          <ac:chgData name="Mattia Volpato" userId="d4750074-1d82-4b06-bea9-f9f846aceec4" providerId="ADAL" clId="{598E0B15-66F7-4D4D-9F75-C859811114CD}" dt="2025-09-17T07:37:51.090" v="709" actId="20577"/>
          <ac:spMkLst>
            <pc:docMk/>
            <pc:sldMk cId="3611570287" sldId="350"/>
            <ac:spMk id="21" creationId="{CCD174DB-393D-0CAB-D2D9-5FA39F17DDEA}"/>
          </ac:spMkLst>
        </pc:spChg>
        <pc:spChg chg="add del mod">
          <ac:chgData name="Mattia Volpato" userId="d4750074-1d82-4b06-bea9-f9f846aceec4" providerId="ADAL" clId="{598E0B15-66F7-4D4D-9F75-C859811114CD}" dt="2025-09-17T07:07:32.257" v="56"/>
          <ac:spMkLst>
            <pc:docMk/>
            <pc:sldMk cId="3611570287" sldId="350"/>
            <ac:spMk id="22" creationId="{0B8B241B-AFA9-6FA2-89F3-280624D3F778}"/>
          </ac:spMkLst>
        </pc:spChg>
        <pc:spChg chg="add mod">
          <ac:chgData name="Mattia Volpato" userId="d4750074-1d82-4b06-bea9-f9f846aceec4" providerId="ADAL" clId="{598E0B15-66F7-4D4D-9F75-C859811114CD}" dt="2025-09-17T09:28:04.303" v="4086" actId="20577"/>
          <ac:spMkLst>
            <pc:docMk/>
            <pc:sldMk cId="3611570287" sldId="350"/>
            <ac:spMk id="23" creationId="{A3A15FBD-3B5F-85FA-B84E-8076BB59BA18}"/>
          </ac:spMkLst>
        </pc:spChg>
        <pc:spChg chg="add mod">
          <ac:chgData name="Mattia Volpato" userId="d4750074-1d82-4b06-bea9-f9f846aceec4" providerId="ADAL" clId="{598E0B15-66F7-4D4D-9F75-C859811114CD}" dt="2025-09-17T07:37:47.275" v="708" actId="20577"/>
          <ac:spMkLst>
            <pc:docMk/>
            <pc:sldMk cId="3611570287" sldId="350"/>
            <ac:spMk id="24" creationId="{0197F563-814B-4287-F2C2-79F80B996FC7}"/>
          </ac:spMkLst>
        </pc:spChg>
        <pc:spChg chg="add mod">
          <ac:chgData name="Mattia Volpato" userId="d4750074-1d82-4b06-bea9-f9f846aceec4" providerId="ADAL" clId="{598E0B15-66F7-4D4D-9F75-C859811114CD}" dt="2025-09-17T09:27:50.421" v="4082" actId="20577"/>
          <ac:spMkLst>
            <pc:docMk/>
            <pc:sldMk cId="3611570287" sldId="350"/>
            <ac:spMk id="25" creationId="{A5712105-A1DE-0103-DDAE-C543D1034B08}"/>
          </ac:spMkLst>
        </pc:spChg>
        <pc:spChg chg="add del mod">
          <ac:chgData name="Mattia Volpato" userId="d4750074-1d82-4b06-bea9-f9f846aceec4" providerId="ADAL" clId="{598E0B15-66F7-4D4D-9F75-C859811114CD}" dt="2025-09-17T07:24:18.076" v="145" actId="478"/>
          <ac:spMkLst>
            <pc:docMk/>
            <pc:sldMk cId="3611570287" sldId="350"/>
            <ac:spMk id="26" creationId="{02DD3155-51EA-0307-BF7A-33FAF86FDD82}"/>
          </ac:spMkLst>
        </pc:spChg>
        <pc:spChg chg="add del mod">
          <ac:chgData name="Mattia Volpato" userId="d4750074-1d82-4b06-bea9-f9f846aceec4" providerId="ADAL" clId="{598E0B15-66F7-4D4D-9F75-C859811114CD}" dt="2025-09-17T07:24:19.668" v="147" actId="478"/>
          <ac:spMkLst>
            <pc:docMk/>
            <pc:sldMk cId="3611570287" sldId="350"/>
            <ac:spMk id="27" creationId="{109D721A-A205-215B-CF93-BFF8A23C114F}"/>
          </ac:spMkLst>
        </pc:spChg>
        <pc:spChg chg="add">
          <ac:chgData name="Mattia Volpato" userId="d4750074-1d82-4b06-bea9-f9f846aceec4" providerId="ADAL" clId="{598E0B15-66F7-4D4D-9F75-C859811114CD}" dt="2025-09-17T07:31:57.271" v="501"/>
          <ac:spMkLst>
            <pc:docMk/>
            <pc:sldMk cId="3611570287" sldId="350"/>
            <ac:spMk id="28" creationId="{EB13F108-EA36-EE0F-61A2-30A5C9C78E46}"/>
          </ac:spMkLst>
        </pc:spChg>
        <pc:spChg chg="add">
          <ac:chgData name="Mattia Volpato" userId="d4750074-1d82-4b06-bea9-f9f846aceec4" providerId="ADAL" clId="{598E0B15-66F7-4D4D-9F75-C859811114CD}" dt="2025-09-17T07:32:00.408" v="502"/>
          <ac:spMkLst>
            <pc:docMk/>
            <pc:sldMk cId="3611570287" sldId="350"/>
            <ac:spMk id="29" creationId="{7826EC6F-263A-A60C-E424-EDFE114AAC1C}"/>
          </ac:spMkLst>
        </pc:spChg>
        <pc:spChg chg="add">
          <ac:chgData name="Mattia Volpato" userId="d4750074-1d82-4b06-bea9-f9f846aceec4" providerId="ADAL" clId="{598E0B15-66F7-4D4D-9F75-C859811114CD}" dt="2025-09-17T07:32:04.245" v="503"/>
          <ac:spMkLst>
            <pc:docMk/>
            <pc:sldMk cId="3611570287" sldId="350"/>
            <ac:spMk id="30" creationId="{2EFE4CF5-0704-22B0-1756-FD1555F3C289}"/>
          </ac:spMkLst>
        </pc:spChg>
        <pc:grpChg chg="del">
          <ac:chgData name="Mattia Volpato" userId="d4750074-1d82-4b06-bea9-f9f846aceec4" providerId="ADAL" clId="{598E0B15-66F7-4D4D-9F75-C859811114CD}" dt="2025-09-17T07:04:31.819" v="27" actId="478"/>
          <ac:grpSpMkLst>
            <pc:docMk/>
            <pc:sldMk cId="3611570287" sldId="350"/>
            <ac:grpSpMk id="4" creationId="{D7FB8995-531E-D7A0-85D8-2CD8E0F9F5D5}"/>
          </ac:grpSpMkLst>
        </pc:grpChg>
        <pc:picChg chg="del">
          <ac:chgData name="Mattia Volpato" userId="d4750074-1d82-4b06-bea9-f9f846aceec4" providerId="ADAL" clId="{598E0B15-66F7-4D4D-9F75-C859811114CD}" dt="2025-09-17T07:04:29.590" v="24" actId="478"/>
          <ac:picMkLst>
            <pc:docMk/>
            <pc:sldMk cId="3611570287" sldId="350"/>
            <ac:picMk id="9" creationId="{FCBB3979-DCD2-8BBA-D52B-31A0246DE016}"/>
          </ac:picMkLst>
        </pc:picChg>
        <pc:picChg chg="del">
          <ac:chgData name="Mattia Volpato" userId="d4750074-1d82-4b06-bea9-f9f846aceec4" providerId="ADAL" clId="{598E0B15-66F7-4D4D-9F75-C859811114CD}" dt="2025-09-17T07:04:30.043" v="25" actId="478"/>
          <ac:picMkLst>
            <pc:docMk/>
            <pc:sldMk cId="3611570287" sldId="350"/>
            <ac:picMk id="10" creationId="{8D89B23F-A274-3F85-DDA7-01901523CF62}"/>
          </ac:picMkLst>
        </pc:picChg>
        <pc:picChg chg="del">
          <ac:chgData name="Mattia Volpato" userId="d4750074-1d82-4b06-bea9-f9f846aceec4" providerId="ADAL" clId="{598E0B15-66F7-4D4D-9F75-C859811114CD}" dt="2025-09-17T07:04:30.851" v="26" actId="478"/>
          <ac:picMkLst>
            <pc:docMk/>
            <pc:sldMk cId="3611570287" sldId="350"/>
            <ac:picMk id="14" creationId="{419CFF97-EC1B-8A3F-EF91-63B3848EE315}"/>
          </ac:picMkLst>
        </pc:picChg>
        <pc:picChg chg="add mod modCrop">
          <ac:chgData name="Mattia Volpato" userId="d4750074-1d82-4b06-bea9-f9f846aceec4" providerId="ADAL" clId="{598E0B15-66F7-4D4D-9F75-C859811114CD}" dt="2025-09-17T07:36:11.735" v="671" actId="1076"/>
          <ac:picMkLst>
            <pc:docMk/>
            <pc:sldMk cId="3611570287" sldId="350"/>
            <ac:picMk id="15" creationId="{D18EF981-F4A0-434F-A30A-297F83D6F7D9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8T18:18:16.218" v="8806" actId="20577"/>
        <pc:sldMkLst>
          <pc:docMk/>
          <pc:sldMk cId="2008264774" sldId="351"/>
        </pc:sldMkLst>
        <pc:spChg chg="mod">
          <ac:chgData name="Mattia Volpato" userId="d4750074-1d82-4b06-bea9-f9f846aceec4" providerId="ADAL" clId="{598E0B15-66F7-4D4D-9F75-C859811114CD}" dt="2025-09-17T08:30:58.794" v="2058" actId="20577"/>
          <ac:spMkLst>
            <pc:docMk/>
            <pc:sldMk cId="2008264774" sldId="351"/>
            <ac:spMk id="3" creationId="{9EA46A92-7F4A-FF38-33FC-2FE2FCB47494}"/>
          </ac:spMkLst>
        </pc:spChg>
        <pc:spChg chg="del">
          <ac:chgData name="Mattia Volpato" userId="d4750074-1d82-4b06-bea9-f9f846aceec4" providerId="ADAL" clId="{598E0B15-66F7-4D4D-9F75-C859811114CD}" dt="2025-09-17T07:47:02.483" v="953" actId="478"/>
          <ac:spMkLst>
            <pc:docMk/>
            <pc:sldMk cId="2008264774" sldId="351"/>
            <ac:spMk id="5" creationId="{96957886-D505-FE9C-59CE-10E15D0CD108}"/>
          </ac:spMkLst>
        </pc:spChg>
        <pc:spChg chg="del mod">
          <ac:chgData name="Mattia Volpato" userId="d4750074-1d82-4b06-bea9-f9f846aceec4" providerId="ADAL" clId="{598E0B15-66F7-4D4D-9F75-C859811114CD}" dt="2025-09-17T07:46:02.127" v="925" actId="478"/>
          <ac:spMkLst>
            <pc:docMk/>
            <pc:sldMk cId="2008264774" sldId="351"/>
            <ac:spMk id="10" creationId="{ADCF901F-E634-1B06-1E57-78054D8DDF3B}"/>
          </ac:spMkLst>
        </pc:spChg>
        <pc:spChg chg="add mod">
          <ac:chgData name="Mattia Volpato" userId="d4750074-1d82-4b06-bea9-f9f846aceec4" providerId="ADAL" clId="{598E0B15-66F7-4D4D-9F75-C859811114CD}" dt="2025-09-17T13:49:57.707" v="5600" actId="1076"/>
          <ac:spMkLst>
            <pc:docMk/>
            <pc:sldMk cId="2008264774" sldId="351"/>
            <ac:spMk id="11" creationId="{241C91F2-5FA7-7B0B-BE24-18EB2657DEF5}"/>
          </ac:spMkLst>
        </pc:spChg>
        <pc:spChg chg="add del mod">
          <ac:chgData name="Mattia Volpato" userId="d4750074-1d82-4b06-bea9-f9f846aceec4" providerId="ADAL" clId="{598E0B15-66F7-4D4D-9F75-C859811114CD}" dt="2025-09-17T08:30:30.147" v="2050" actId="478"/>
          <ac:spMkLst>
            <pc:docMk/>
            <pc:sldMk cId="2008264774" sldId="351"/>
            <ac:spMk id="12" creationId="{C9F75423-E66A-9E1C-B085-238DFF38F10F}"/>
          </ac:spMkLst>
        </pc:spChg>
        <pc:spChg chg="add del mod">
          <ac:chgData name="Mattia Volpato" userId="d4750074-1d82-4b06-bea9-f9f846aceec4" providerId="ADAL" clId="{598E0B15-66F7-4D4D-9F75-C859811114CD}" dt="2025-09-17T07:50:08.983" v="1016" actId="478"/>
          <ac:spMkLst>
            <pc:docMk/>
            <pc:sldMk cId="2008264774" sldId="351"/>
            <ac:spMk id="13" creationId="{7169EF15-0E77-D12C-E28F-1226A32ACD56}"/>
          </ac:spMkLst>
        </pc:spChg>
        <pc:spChg chg="del">
          <ac:chgData name="Mattia Volpato" userId="d4750074-1d82-4b06-bea9-f9f846aceec4" providerId="ADAL" clId="{598E0B15-66F7-4D4D-9F75-C859811114CD}" dt="2025-09-17T07:47:01.277" v="952" actId="478"/>
          <ac:spMkLst>
            <pc:docMk/>
            <pc:sldMk cId="2008264774" sldId="351"/>
            <ac:spMk id="14" creationId="{C1FF69FD-894E-40B3-E3B6-C2719BA2823C}"/>
          </ac:spMkLst>
        </pc:spChg>
        <pc:spChg chg="add mod">
          <ac:chgData name="Mattia Volpato" userId="d4750074-1d82-4b06-bea9-f9f846aceec4" providerId="ADAL" clId="{598E0B15-66F7-4D4D-9F75-C859811114CD}" dt="2025-09-17T13:49:48.367" v="5598" actId="207"/>
          <ac:spMkLst>
            <pc:docMk/>
            <pc:sldMk cId="2008264774" sldId="351"/>
            <ac:spMk id="15" creationId="{F1D5394F-09DC-B57C-58A0-D6A90F141E14}"/>
          </ac:spMkLst>
        </pc:spChg>
        <pc:spChg chg="add mod">
          <ac:chgData name="Mattia Volpato" userId="d4750074-1d82-4b06-bea9-f9f846aceec4" providerId="ADAL" clId="{598E0B15-66F7-4D4D-9F75-C859811114CD}" dt="2025-09-18T18:18:16.218" v="8806" actId="20577"/>
          <ac:spMkLst>
            <pc:docMk/>
            <pc:sldMk cId="2008264774" sldId="351"/>
            <ac:spMk id="16" creationId="{EAADAD14-3BB7-3AA5-18AD-D07F0550791E}"/>
          </ac:spMkLst>
        </pc:spChg>
        <pc:spChg chg="del">
          <ac:chgData name="Mattia Volpato" userId="d4750074-1d82-4b06-bea9-f9f846aceec4" providerId="ADAL" clId="{598E0B15-66F7-4D4D-9F75-C859811114CD}" dt="2025-09-17T07:46:32.436" v="935" actId="478"/>
          <ac:spMkLst>
            <pc:docMk/>
            <pc:sldMk cId="2008264774" sldId="351"/>
            <ac:spMk id="17" creationId="{918C24EE-6583-A909-5E80-9511BB72C1B1}"/>
          </ac:spMkLst>
        </pc:spChg>
        <pc:spChg chg="del">
          <ac:chgData name="Mattia Volpato" userId="d4750074-1d82-4b06-bea9-f9f846aceec4" providerId="ADAL" clId="{598E0B15-66F7-4D4D-9F75-C859811114CD}" dt="2025-09-17T07:46:42.807" v="939" actId="478"/>
          <ac:spMkLst>
            <pc:docMk/>
            <pc:sldMk cId="2008264774" sldId="351"/>
            <ac:spMk id="19" creationId="{F06ACDBC-90F3-9170-7658-C5A5CA250050}"/>
          </ac:spMkLst>
        </pc:spChg>
        <pc:spChg chg="del">
          <ac:chgData name="Mattia Volpato" userId="d4750074-1d82-4b06-bea9-f9f846aceec4" providerId="ADAL" clId="{598E0B15-66F7-4D4D-9F75-C859811114CD}" dt="2025-09-17T07:46:41.235" v="938" actId="478"/>
          <ac:spMkLst>
            <pc:docMk/>
            <pc:sldMk cId="2008264774" sldId="351"/>
            <ac:spMk id="20" creationId="{FB180E2F-E50A-0162-131E-69ACD97241B9}"/>
          </ac:spMkLst>
        </pc:spChg>
        <pc:spChg chg="add mod">
          <ac:chgData name="Mattia Volpato" userId="d4750074-1d82-4b06-bea9-f9f846aceec4" providerId="ADAL" clId="{598E0B15-66F7-4D4D-9F75-C859811114CD}" dt="2025-09-17T09:10:35.729" v="3365" actId="1076"/>
          <ac:spMkLst>
            <pc:docMk/>
            <pc:sldMk cId="2008264774" sldId="351"/>
            <ac:spMk id="21" creationId="{0621CEC3-E15E-2C9B-D645-812283B3997F}"/>
          </ac:spMkLst>
        </pc:spChg>
        <pc:spChg chg="del">
          <ac:chgData name="Mattia Volpato" userId="d4750074-1d82-4b06-bea9-f9f846aceec4" providerId="ADAL" clId="{598E0B15-66F7-4D4D-9F75-C859811114CD}" dt="2025-09-17T07:46:44.948" v="940" actId="478"/>
          <ac:spMkLst>
            <pc:docMk/>
            <pc:sldMk cId="2008264774" sldId="351"/>
            <ac:spMk id="22" creationId="{65B562EB-BC69-8166-3147-4645CE3F7495}"/>
          </ac:spMkLst>
        </pc:spChg>
        <pc:spChg chg="del">
          <ac:chgData name="Mattia Volpato" userId="d4750074-1d82-4b06-bea9-f9f846aceec4" providerId="ADAL" clId="{598E0B15-66F7-4D4D-9F75-C859811114CD}" dt="2025-09-17T07:46:40.409" v="937" actId="478"/>
          <ac:spMkLst>
            <pc:docMk/>
            <pc:sldMk cId="2008264774" sldId="351"/>
            <ac:spMk id="23" creationId="{E4C9147A-D8DF-4EA5-3EAE-5CF71D335DDF}"/>
          </ac:spMkLst>
        </pc:spChg>
        <pc:spChg chg="add del mod">
          <ac:chgData name="Mattia Volpato" userId="d4750074-1d82-4b06-bea9-f9f846aceec4" providerId="ADAL" clId="{598E0B15-66F7-4D4D-9F75-C859811114CD}" dt="2025-09-17T08:00:44.923" v="1448" actId="478"/>
          <ac:spMkLst>
            <pc:docMk/>
            <pc:sldMk cId="2008264774" sldId="351"/>
            <ac:spMk id="24" creationId="{61E37523-5E8F-45C1-5A61-06791A388A2D}"/>
          </ac:spMkLst>
        </pc:spChg>
        <pc:spChg chg="add del mod">
          <ac:chgData name="Mattia Volpato" userId="d4750074-1d82-4b06-bea9-f9f846aceec4" providerId="ADAL" clId="{598E0B15-66F7-4D4D-9F75-C859811114CD}" dt="2025-09-17T08:00:44.010" v="1447" actId="478"/>
          <ac:spMkLst>
            <pc:docMk/>
            <pc:sldMk cId="2008264774" sldId="351"/>
            <ac:spMk id="25" creationId="{CD637754-185B-B650-AA57-0C7CE13163C8}"/>
          </ac:spMkLst>
        </pc:spChg>
        <pc:spChg chg="add del mod">
          <ac:chgData name="Mattia Volpato" userId="d4750074-1d82-4b06-bea9-f9f846aceec4" providerId="ADAL" clId="{598E0B15-66F7-4D4D-9F75-C859811114CD}" dt="2025-09-17T08:30:38.719" v="2051" actId="478"/>
          <ac:spMkLst>
            <pc:docMk/>
            <pc:sldMk cId="2008264774" sldId="351"/>
            <ac:spMk id="26" creationId="{0FF67742-6532-522D-C5FC-1276FA8691A5}"/>
          </ac:spMkLst>
        </pc:spChg>
        <pc:spChg chg="add mod">
          <ac:chgData name="Mattia Volpato" userId="d4750074-1d82-4b06-bea9-f9f846aceec4" providerId="ADAL" clId="{598E0B15-66F7-4D4D-9F75-C859811114CD}" dt="2025-09-17T08:30:27.232" v="2049" actId="20577"/>
          <ac:spMkLst>
            <pc:docMk/>
            <pc:sldMk cId="2008264774" sldId="351"/>
            <ac:spMk id="27" creationId="{21C81543-9AAE-0BC5-0B93-549CCEC055AC}"/>
          </ac:spMkLst>
        </pc:spChg>
        <pc:grpChg chg="del">
          <ac:chgData name="Mattia Volpato" userId="d4750074-1d82-4b06-bea9-f9f846aceec4" providerId="ADAL" clId="{598E0B15-66F7-4D4D-9F75-C859811114CD}" dt="2025-09-17T07:46:00.232" v="923" actId="478"/>
          <ac:grpSpMkLst>
            <pc:docMk/>
            <pc:sldMk cId="2008264774" sldId="351"/>
            <ac:grpSpMk id="4" creationId="{50D16514-5D08-B58D-F10D-2B101A2ED875}"/>
          </ac:grpSpMkLst>
        </pc:grpChg>
        <pc:picChg chg="del">
          <ac:chgData name="Mattia Volpato" userId="d4750074-1d82-4b06-bea9-f9f846aceec4" providerId="ADAL" clId="{598E0B15-66F7-4D4D-9F75-C859811114CD}" dt="2025-09-17T07:46:36.396" v="936" actId="478"/>
          <ac:picMkLst>
            <pc:docMk/>
            <pc:sldMk cId="2008264774" sldId="351"/>
            <ac:picMk id="18" creationId="{6197CC4C-B950-DA06-7803-9AD08C3903CC}"/>
          </ac:picMkLst>
        </pc:picChg>
      </pc:sldChg>
      <pc:sldChg chg="modSp add mod ord">
        <pc:chgData name="Mattia Volpato" userId="d4750074-1d82-4b06-bea9-f9f846aceec4" providerId="ADAL" clId="{598E0B15-66F7-4D4D-9F75-C859811114CD}" dt="2025-09-17T13:49:36.425" v="5597" actId="207"/>
        <pc:sldMkLst>
          <pc:docMk/>
          <pc:sldMk cId="2339048414" sldId="352"/>
        </pc:sldMkLst>
        <pc:spChg chg="mod">
          <ac:chgData name="Mattia Volpato" userId="d4750074-1d82-4b06-bea9-f9f846aceec4" providerId="ADAL" clId="{598E0B15-66F7-4D4D-9F75-C859811114CD}" dt="2025-09-17T08:31:09.768" v="2064" actId="20577"/>
          <ac:spMkLst>
            <pc:docMk/>
            <pc:sldMk cId="2339048414" sldId="352"/>
            <ac:spMk id="3" creationId="{89BF845C-C243-4DCC-D347-A255C261695C}"/>
          </ac:spMkLst>
        </pc:spChg>
        <pc:spChg chg="mod">
          <ac:chgData name="Mattia Volpato" userId="d4750074-1d82-4b06-bea9-f9f846aceec4" providerId="ADAL" clId="{598E0B15-66F7-4D4D-9F75-C859811114CD}" dt="2025-09-17T13:49:33.174" v="5596" actId="113"/>
          <ac:spMkLst>
            <pc:docMk/>
            <pc:sldMk cId="2339048414" sldId="352"/>
            <ac:spMk id="11" creationId="{48C01E88-88E6-C44B-5E25-BE9D5A9F96E4}"/>
          </ac:spMkLst>
        </pc:spChg>
        <pc:spChg chg="mod">
          <ac:chgData name="Mattia Volpato" userId="d4750074-1d82-4b06-bea9-f9f846aceec4" providerId="ADAL" clId="{598E0B15-66F7-4D4D-9F75-C859811114CD}" dt="2025-09-17T08:54:59.777" v="2849" actId="20577"/>
          <ac:spMkLst>
            <pc:docMk/>
            <pc:sldMk cId="2339048414" sldId="352"/>
            <ac:spMk id="12" creationId="{54946860-9F53-C37D-7C9A-D8B168E5C5F1}"/>
          </ac:spMkLst>
        </pc:spChg>
        <pc:spChg chg="mod">
          <ac:chgData name="Mattia Volpato" userId="d4750074-1d82-4b06-bea9-f9f846aceec4" providerId="ADAL" clId="{598E0B15-66F7-4D4D-9F75-C859811114CD}" dt="2025-09-17T13:49:36.425" v="5597" actId="207"/>
          <ac:spMkLst>
            <pc:docMk/>
            <pc:sldMk cId="2339048414" sldId="352"/>
            <ac:spMk id="15" creationId="{E70C65EF-8FCA-5012-9E39-97A36E16E966}"/>
          </ac:spMkLst>
        </pc:spChg>
        <pc:spChg chg="mod">
          <ac:chgData name="Mattia Volpato" userId="d4750074-1d82-4b06-bea9-f9f846aceec4" providerId="ADAL" clId="{598E0B15-66F7-4D4D-9F75-C859811114CD}" dt="2025-09-17T09:00:15.896" v="3049" actId="1076"/>
          <ac:spMkLst>
            <pc:docMk/>
            <pc:sldMk cId="2339048414" sldId="352"/>
            <ac:spMk id="16" creationId="{4106F524-83CE-198C-89D0-684FBCD952A2}"/>
          </ac:spMkLst>
        </pc:spChg>
        <pc:spChg chg="mod">
          <ac:chgData name="Mattia Volpato" userId="d4750074-1d82-4b06-bea9-f9f846aceec4" providerId="ADAL" clId="{598E0B15-66F7-4D4D-9F75-C859811114CD}" dt="2025-09-17T09:00:09.351" v="3047" actId="1076"/>
          <ac:spMkLst>
            <pc:docMk/>
            <pc:sldMk cId="2339048414" sldId="352"/>
            <ac:spMk id="21" creationId="{5C5F3FDF-63D2-681E-5DC2-F97E6B33E1A2}"/>
          </ac:spMkLst>
        </pc:spChg>
        <pc:spChg chg="mod">
          <ac:chgData name="Mattia Volpato" userId="d4750074-1d82-4b06-bea9-f9f846aceec4" providerId="ADAL" clId="{598E0B15-66F7-4D4D-9F75-C859811114CD}" dt="2025-09-17T09:06:50.079" v="3298" actId="20577"/>
          <ac:spMkLst>
            <pc:docMk/>
            <pc:sldMk cId="2339048414" sldId="352"/>
            <ac:spMk id="24" creationId="{E65FC23B-C239-0AA1-1C5A-FA07501FC09F}"/>
          </ac:spMkLst>
        </pc:spChg>
        <pc:spChg chg="mod">
          <ac:chgData name="Mattia Volpato" userId="d4750074-1d82-4b06-bea9-f9f846aceec4" providerId="ADAL" clId="{598E0B15-66F7-4D4D-9F75-C859811114CD}" dt="2025-09-17T09:00:28.551" v="3050" actId="1076"/>
          <ac:spMkLst>
            <pc:docMk/>
            <pc:sldMk cId="2339048414" sldId="352"/>
            <ac:spMk id="25" creationId="{75D55477-0E75-FB03-94B0-41D8BF6E80B1}"/>
          </ac:spMkLst>
        </pc:spChg>
      </pc:sldChg>
      <pc:sldChg chg="addSp delSp modSp add mod ord">
        <pc:chgData name="Mattia Volpato" userId="d4750074-1d82-4b06-bea9-f9f846aceec4" providerId="ADAL" clId="{598E0B15-66F7-4D4D-9F75-C859811114CD}" dt="2025-09-18T20:13:14.484" v="10991" actId="113"/>
        <pc:sldMkLst>
          <pc:docMk/>
          <pc:sldMk cId="2704341272" sldId="353"/>
        </pc:sldMkLst>
        <pc:spChg chg="mod">
          <ac:chgData name="Mattia Volpato" userId="d4750074-1d82-4b06-bea9-f9f846aceec4" providerId="ADAL" clId="{598E0B15-66F7-4D4D-9F75-C859811114CD}" dt="2025-09-17T08:01:39.620" v="1483" actId="20577"/>
          <ac:spMkLst>
            <pc:docMk/>
            <pc:sldMk cId="2704341272" sldId="353"/>
            <ac:spMk id="3" creationId="{5371AF76-B264-C5CE-DF8D-B481729689D8}"/>
          </ac:spMkLst>
        </pc:spChg>
        <pc:spChg chg="mod">
          <ac:chgData name="Mattia Volpato" userId="d4750074-1d82-4b06-bea9-f9f846aceec4" providerId="ADAL" clId="{598E0B15-66F7-4D4D-9F75-C859811114CD}" dt="2025-09-17T09:29:26.101" v="4100" actId="1076"/>
          <ac:spMkLst>
            <pc:docMk/>
            <pc:sldMk cId="2704341272" sldId="353"/>
            <ac:spMk id="21" creationId="{B5721CD3-DA53-055C-22D4-D879319B7B3C}"/>
          </ac:spMkLst>
        </pc:spChg>
        <pc:spChg chg="mod">
          <ac:chgData name="Mattia Volpato" userId="d4750074-1d82-4b06-bea9-f9f846aceec4" providerId="ADAL" clId="{598E0B15-66F7-4D4D-9F75-C859811114CD}" dt="2025-09-18T20:13:14.484" v="10991" actId="113"/>
          <ac:spMkLst>
            <pc:docMk/>
            <pc:sldMk cId="2704341272" sldId="353"/>
            <ac:spMk id="23" creationId="{3FD96F95-76E7-B504-763D-989865E818AB}"/>
          </ac:spMkLst>
        </pc:spChg>
        <pc:spChg chg="del">
          <ac:chgData name="Mattia Volpato" userId="d4750074-1d82-4b06-bea9-f9f846aceec4" providerId="ADAL" clId="{598E0B15-66F7-4D4D-9F75-C859811114CD}" dt="2025-09-17T08:35:06.980" v="2100" actId="478"/>
          <ac:spMkLst>
            <pc:docMk/>
            <pc:sldMk cId="2704341272" sldId="353"/>
            <ac:spMk id="24" creationId="{B98D1B97-D47B-4046-D3DF-78565C5DAFFE}"/>
          </ac:spMkLst>
        </pc:spChg>
        <pc:spChg chg="del mod">
          <ac:chgData name="Mattia Volpato" userId="d4750074-1d82-4b06-bea9-f9f846aceec4" providerId="ADAL" clId="{598E0B15-66F7-4D4D-9F75-C859811114CD}" dt="2025-09-17T08:35:08.349" v="2102" actId="478"/>
          <ac:spMkLst>
            <pc:docMk/>
            <pc:sldMk cId="2704341272" sldId="353"/>
            <ac:spMk id="25" creationId="{4789CE12-5194-BC25-30AB-A95610E20763}"/>
          </ac:spMkLst>
        </pc:spChg>
        <pc:picChg chg="add mod">
          <ac:chgData name="Mattia Volpato" userId="d4750074-1d82-4b06-bea9-f9f846aceec4" providerId="ADAL" clId="{598E0B15-66F7-4D4D-9F75-C859811114CD}" dt="2025-09-17T09:29:39.294" v="4103" actId="1076"/>
          <ac:picMkLst>
            <pc:docMk/>
            <pc:sldMk cId="2704341272" sldId="353"/>
            <ac:picMk id="6" creationId="{569BF9CA-F849-AD2D-763A-D28D64E99A1B}"/>
          </ac:picMkLst>
        </pc:picChg>
        <pc:picChg chg="del mod">
          <ac:chgData name="Mattia Volpato" userId="d4750074-1d82-4b06-bea9-f9f846aceec4" providerId="ADAL" clId="{598E0B15-66F7-4D4D-9F75-C859811114CD}" dt="2025-09-17T08:02:59.689" v="1485" actId="478"/>
          <ac:picMkLst>
            <pc:docMk/>
            <pc:sldMk cId="2704341272" sldId="353"/>
            <ac:picMk id="15" creationId="{DC5C66D4-2157-F4AA-188D-FE2CE2B39719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7T09:12:21.632" v="3377" actId="20577"/>
        <pc:sldMkLst>
          <pc:docMk/>
          <pc:sldMk cId="4144789035" sldId="354"/>
        </pc:sldMkLst>
        <pc:spChg chg="mod">
          <ac:chgData name="Mattia Volpato" userId="d4750074-1d82-4b06-bea9-f9f846aceec4" providerId="ADAL" clId="{598E0B15-66F7-4D4D-9F75-C859811114CD}" dt="2025-09-17T09:12:21.632" v="3377" actId="20577"/>
          <ac:spMkLst>
            <pc:docMk/>
            <pc:sldMk cId="4144789035" sldId="354"/>
            <ac:spMk id="3" creationId="{FF500775-1D8F-CDD6-B466-B4B3A331BED5}"/>
          </ac:spMkLst>
        </pc:spChg>
        <pc:spChg chg="del">
          <ac:chgData name="Mattia Volpato" userId="d4750074-1d82-4b06-bea9-f9f846aceec4" providerId="ADAL" clId="{598E0B15-66F7-4D4D-9F75-C859811114CD}" dt="2025-09-17T08:03:45.056" v="1495" actId="478"/>
          <ac:spMkLst>
            <pc:docMk/>
            <pc:sldMk cId="4144789035" sldId="354"/>
            <ac:spMk id="21" creationId="{C6810608-5116-F9E7-C07D-2E26A0FF0D85}"/>
          </ac:spMkLst>
        </pc:spChg>
        <pc:spChg chg="del">
          <ac:chgData name="Mattia Volpato" userId="d4750074-1d82-4b06-bea9-f9f846aceec4" providerId="ADAL" clId="{598E0B15-66F7-4D4D-9F75-C859811114CD}" dt="2025-09-17T08:03:46.458" v="1496" actId="478"/>
          <ac:spMkLst>
            <pc:docMk/>
            <pc:sldMk cId="4144789035" sldId="354"/>
            <ac:spMk id="23" creationId="{8E67A6A7-BD0B-307D-876F-516BF2A3483E}"/>
          </ac:spMkLst>
        </pc:spChg>
        <pc:spChg chg="del mod">
          <ac:chgData name="Mattia Volpato" userId="d4750074-1d82-4b06-bea9-f9f846aceec4" providerId="ADAL" clId="{598E0B15-66F7-4D4D-9F75-C859811114CD}" dt="2025-09-17T08:03:49.028" v="1498" actId="478"/>
          <ac:spMkLst>
            <pc:docMk/>
            <pc:sldMk cId="4144789035" sldId="354"/>
            <ac:spMk id="24" creationId="{FA403AD7-4F8B-74E0-ACF3-1A21F1C4E2D8}"/>
          </ac:spMkLst>
        </pc:spChg>
        <pc:spChg chg="del">
          <ac:chgData name="Mattia Volpato" userId="d4750074-1d82-4b06-bea9-f9f846aceec4" providerId="ADAL" clId="{598E0B15-66F7-4D4D-9F75-C859811114CD}" dt="2025-09-17T08:03:50.199" v="1499" actId="478"/>
          <ac:spMkLst>
            <pc:docMk/>
            <pc:sldMk cId="4144789035" sldId="354"/>
            <ac:spMk id="25" creationId="{6460AD98-CCAF-089A-3785-950C5926EF12}"/>
          </ac:spMkLst>
        </pc:spChg>
        <pc:picChg chg="del">
          <ac:chgData name="Mattia Volpato" userId="d4750074-1d82-4b06-bea9-f9f846aceec4" providerId="ADAL" clId="{598E0B15-66F7-4D4D-9F75-C859811114CD}" dt="2025-09-17T08:04:16.815" v="1532" actId="478"/>
          <ac:picMkLst>
            <pc:docMk/>
            <pc:sldMk cId="4144789035" sldId="354"/>
            <ac:picMk id="6" creationId="{662B1486-9909-C35E-F87A-7869E8D95C85}"/>
          </ac:picMkLst>
        </pc:picChg>
        <pc:picChg chg="add mod">
          <ac:chgData name="Mattia Volpato" userId="d4750074-1d82-4b06-bea9-f9f846aceec4" providerId="ADAL" clId="{598E0B15-66F7-4D4D-9F75-C859811114CD}" dt="2025-09-17T08:07:21.985" v="1561" actId="14826"/>
          <ac:picMkLst>
            <pc:docMk/>
            <pc:sldMk cId="4144789035" sldId="354"/>
            <ac:picMk id="7" creationId="{16AD50AC-73EB-D568-5F93-5DECB781B294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47.176" v="3387" actId="20577"/>
        <pc:sldMkLst>
          <pc:docMk/>
          <pc:sldMk cId="3955355820" sldId="355"/>
        </pc:sldMkLst>
        <pc:spChg chg="mod">
          <ac:chgData name="Mattia Volpato" userId="d4750074-1d82-4b06-bea9-f9f846aceec4" providerId="ADAL" clId="{598E0B15-66F7-4D4D-9F75-C859811114CD}" dt="2025-09-17T09:12:47.176" v="3387" actId="20577"/>
          <ac:spMkLst>
            <pc:docMk/>
            <pc:sldMk cId="3955355820" sldId="355"/>
            <ac:spMk id="3" creationId="{DBE45F8C-B7D5-F2FF-6752-23F6A8D511B3}"/>
          </ac:spMkLst>
        </pc:spChg>
      </pc:sldChg>
      <pc:sldChg chg="modSp add mod">
        <pc:chgData name="Mattia Volpato" userId="d4750074-1d82-4b06-bea9-f9f846aceec4" providerId="ADAL" clId="{598E0B15-66F7-4D4D-9F75-C859811114CD}" dt="2025-09-17T09:12:27.969" v="3381"/>
        <pc:sldMkLst>
          <pc:docMk/>
          <pc:sldMk cId="2921181001" sldId="356"/>
        </pc:sldMkLst>
        <pc:spChg chg="mod">
          <ac:chgData name="Mattia Volpato" userId="d4750074-1d82-4b06-bea9-f9f846aceec4" providerId="ADAL" clId="{598E0B15-66F7-4D4D-9F75-C859811114CD}" dt="2025-09-17T09:12:27.969" v="3381"/>
          <ac:spMkLst>
            <pc:docMk/>
            <pc:sldMk cId="2921181001" sldId="356"/>
            <ac:spMk id="3" creationId="{AB81E6E2-CF94-4449-C960-1F9E976FE5FB}"/>
          </ac:spMkLst>
        </pc:spChg>
        <pc:picChg chg="mod">
          <ac:chgData name="Mattia Volpato" userId="d4750074-1d82-4b06-bea9-f9f846aceec4" providerId="ADAL" clId="{598E0B15-66F7-4D4D-9F75-C859811114CD}" dt="2025-09-17T08:07:42.258" v="1563" actId="14826"/>
          <ac:picMkLst>
            <pc:docMk/>
            <pc:sldMk cId="2921181001" sldId="356"/>
            <ac:picMk id="7" creationId="{4EBD84D1-3AA3-30A1-EC95-1EFDDDDB47E5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35.273" v="3383" actId="20577"/>
        <pc:sldMkLst>
          <pc:docMk/>
          <pc:sldMk cId="1049040750" sldId="357"/>
        </pc:sldMkLst>
        <pc:spChg chg="mod">
          <ac:chgData name="Mattia Volpato" userId="d4750074-1d82-4b06-bea9-f9f846aceec4" providerId="ADAL" clId="{598E0B15-66F7-4D4D-9F75-C859811114CD}" dt="2025-09-17T09:12:35.273" v="3383" actId="20577"/>
          <ac:spMkLst>
            <pc:docMk/>
            <pc:sldMk cId="1049040750" sldId="357"/>
            <ac:spMk id="3" creationId="{D5CC3917-E6B1-7AEC-46BC-9218FE00B244}"/>
          </ac:spMkLst>
        </pc:spChg>
        <pc:picChg chg="mod">
          <ac:chgData name="Mattia Volpato" userId="d4750074-1d82-4b06-bea9-f9f846aceec4" providerId="ADAL" clId="{598E0B15-66F7-4D4D-9F75-C859811114CD}" dt="2025-09-17T08:08:06.708" v="1565" actId="14826"/>
          <ac:picMkLst>
            <pc:docMk/>
            <pc:sldMk cId="1049040750" sldId="357"/>
            <ac:picMk id="7" creationId="{144004EB-A736-6841-971E-E8B204702A9A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42.074" v="3385"/>
        <pc:sldMkLst>
          <pc:docMk/>
          <pc:sldMk cId="2642512921" sldId="358"/>
        </pc:sldMkLst>
        <pc:spChg chg="mod">
          <ac:chgData name="Mattia Volpato" userId="d4750074-1d82-4b06-bea9-f9f846aceec4" providerId="ADAL" clId="{598E0B15-66F7-4D4D-9F75-C859811114CD}" dt="2025-09-17T09:12:42.074" v="3385"/>
          <ac:spMkLst>
            <pc:docMk/>
            <pc:sldMk cId="2642512921" sldId="358"/>
            <ac:spMk id="3" creationId="{1CF25C0F-F726-F253-6D0F-CB17BFAF9AA5}"/>
          </ac:spMkLst>
        </pc:spChg>
        <pc:picChg chg="mod">
          <ac:chgData name="Mattia Volpato" userId="d4750074-1d82-4b06-bea9-f9f846aceec4" providerId="ADAL" clId="{598E0B15-66F7-4D4D-9F75-C859811114CD}" dt="2025-09-17T08:08:28.294" v="1567" actId="14826"/>
          <ac:picMkLst>
            <pc:docMk/>
            <pc:sldMk cId="2642512921" sldId="358"/>
            <ac:picMk id="7" creationId="{41F64FC5-BA6E-EB5B-BF30-A2D122DB6DE2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7T13:51:18.325" v="5604" actId="207"/>
        <pc:sldMkLst>
          <pc:docMk/>
          <pc:sldMk cId="509673221" sldId="359"/>
        </pc:sldMkLst>
        <pc:spChg chg="mod">
          <ac:chgData name="Mattia Volpato" userId="d4750074-1d82-4b06-bea9-f9f846aceec4" providerId="ADAL" clId="{598E0B15-66F7-4D4D-9F75-C859811114CD}" dt="2025-09-17T11:53:26.661" v="4405" actId="20577"/>
          <ac:spMkLst>
            <pc:docMk/>
            <pc:sldMk cId="509673221" sldId="359"/>
            <ac:spMk id="3" creationId="{05D7BE7D-5D25-B054-522C-25670EAD9AB6}"/>
          </ac:spMkLst>
        </pc:spChg>
        <pc:spChg chg="add mod">
          <ac:chgData name="Mattia Volpato" userId="d4750074-1d82-4b06-bea9-f9f846aceec4" providerId="ADAL" clId="{598E0B15-66F7-4D4D-9F75-C859811114CD}" dt="2025-09-17T09:02:40.330" v="3172" actId="113"/>
          <ac:spMkLst>
            <pc:docMk/>
            <pc:sldMk cId="509673221" sldId="359"/>
            <ac:spMk id="9" creationId="{D9694C4E-5D68-BC16-F60F-2033F2CDCBFC}"/>
          </ac:spMkLst>
        </pc:spChg>
        <pc:spChg chg="add mod">
          <ac:chgData name="Mattia Volpato" userId="d4750074-1d82-4b06-bea9-f9f846aceec4" providerId="ADAL" clId="{598E0B15-66F7-4D4D-9F75-C859811114CD}" dt="2025-09-17T09:02:46.437" v="3174" actId="113"/>
          <ac:spMkLst>
            <pc:docMk/>
            <pc:sldMk cId="509673221" sldId="359"/>
            <ac:spMk id="10" creationId="{531DC066-9E16-A589-C36A-9C4C2129659D}"/>
          </ac:spMkLst>
        </pc:spChg>
        <pc:spChg chg="del">
          <ac:chgData name="Mattia Volpato" userId="d4750074-1d82-4b06-bea9-f9f846aceec4" providerId="ADAL" clId="{598E0B15-66F7-4D4D-9F75-C859811114CD}" dt="2025-09-17T08:11:41.147" v="1598" actId="478"/>
          <ac:spMkLst>
            <pc:docMk/>
            <pc:sldMk cId="509673221" sldId="359"/>
            <ac:spMk id="21" creationId="{FB69E879-AA18-1C49-ECB5-EBDE342EC08F}"/>
          </ac:spMkLst>
        </pc:spChg>
        <pc:spChg chg="del">
          <ac:chgData name="Mattia Volpato" userId="d4750074-1d82-4b06-bea9-f9f846aceec4" providerId="ADAL" clId="{598E0B15-66F7-4D4D-9F75-C859811114CD}" dt="2025-09-17T08:11:42.407" v="1599" actId="478"/>
          <ac:spMkLst>
            <pc:docMk/>
            <pc:sldMk cId="509673221" sldId="359"/>
            <ac:spMk id="23" creationId="{82500111-64A8-D94B-EFE8-BEB34F68AE6D}"/>
          </ac:spMkLst>
        </pc:spChg>
        <pc:spChg chg="del">
          <ac:chgData name="Mattia Volpato" userId="d4750074-1d82-4b06-bea9-f9f846aceec4" providerId="ADAL" clId="{598E0B15-66F7-4D4D-9F75-C859811114CD}" dt="2025-09-17T08:11:43.975" v="1600" actId="478"/>
          <ac:spMkLst>
            <pc:docMk/>
            <pc:sldMk cId="509673221" sldId="359"/>
            <ac:spMk id="24" creationId="{9FC58F49-6F95-5D51-EC19-42327DE0AC21}"/>
          </ac:spMkLst>
        </pc:spChg>
        <pc:spChg chg="del">
          <ac:chgData name="Mattia Volpato" userId="d4750074-1d82-4b06-bea9-f9f846aceec4" providerId="ADAL" clId="{598E0B15-66F7-4D4D-9F75-C859811114CD}" dt="2025-09-17T08:11:45.187" v="1601" actId="478"/>
          <ac:spMkLst>
            <pc:docMk/>
            <pc:sldMk cId="509673221" sldId="359"/>
            <ac:spMk id="25" creationId="{FE3371D1-E1D4-E7AD-650B-93EFB1A0A14B}"/>
          </ac:spMkLst>
        </pc:spChg>
        <pc:graphicFrameChg chg="add mod modGraphic">
          <ac:chgData name="Mattia Volpato" userId="d4750074-1d82-4b06-bea9-f9f846aceec4" providerId="ADAL" clId="{598E0B15-66F7-4D4D-9F75-C859811114CD}" dt="2025-09-17T13:51:11.215" v="5603" actId="207"/>
          <ac:graphicFrameMkLst>
            <pc:docMk/>
            <pc:sldMk cId="509673221" sldId="359"/>
            <ac:graphicFrameMk id="4" creationId="{7AD74106-42DD-8B7D-A03D-BE4902E71FF9}"/>
          </ac:graphicFrameMkLst>
        </pc:graphicFrameChg>
        <pc:graphicFrameChg chg="add">
          <ac:chgData name="Mattia Volpato" userId="d4750074-1d82-4b06-bea9-f9f846aceec4" providerId="ADAL" clId="{598E0B15-66F7-4D4D-9F75-C859811114CD}" dt="2025-09-17T08:16:32.101" v="1698"/>
          <ac:graphicFrameMkLst>
            <pc:docMk/>
            <pc:sldMk cId="509673221" sldId="359"/>
            <ac:graphicFrameMk id="7" creationId="{A4E920AC-1E05-B67F-AEC8-7904DF90D4F5}"/>
          </ac:graphicFrameMkLst>
        </pc:graphicFrameChg>
        <pc:graphicFrameChg chg="add mod modGraphic">
          <ac:chgData name="Mattia Volpato" userId="d4750074-1d82-4b06-bea9-f9f846aceec4" providerId="ADAL" clId="{598E0B15-66F7-4D4D-9F75-C859811114CD}" dt="2025-09-17T13:51:18.325" v="5604" actId="207"/>
          <ac:graphicFrameMkLst>
            <pc:docMk/>
            <pc:sldMk cId="509673221" sldId="359"/>
            <ac:graphicFrameMk id="8" creationId="{772F7656-F462-5B68-A82B-02C0D0E9D6AF}"/>
          </ac:graphicFrameMkLst>
        </pc:graphicFrameChg>
        <pc:picChg chg="del">
          <ac:chgData name="Mattia Volpato" userId="d4750074-1d82-4b06-bea9-f9f846aceec4" providerId="ADAL" clId="{598E0B15-66F7-4D4D-9F75-C859811114CD}" dt="2025-09-17T08:09:49.359" v="1597" actId="478"/>
          <ac:picMkLst>
            <pc:docMk/>
            <pc:sldMk cId="509673221" sldId="359"/>
            <ac:picMk id="6" creationId="{C957EEEB-A5D3-1FC3-2126-4B03536649BF}"/>
          </ac:picMkLst>
        </pc:picChg>
      </pc:sldChg>
      <pc:sldChg chg="addSp delSp modSp add del mod ord">
        <pc:chgData name="Mattia Volpato" userId="d4750074-1d82-4b06-bea9-f9f846aceec4" providerId="ADAL" clId="{598E0B15-66F7-4D4D-9F75-C859811114CD}" dt="2025-09-17T11:59:35.696" v="4480" actId="2696"/>
        <pc:sldMkLst>
          <pc:docMk/>
          <pc:sldMk cId="824295946" sldId="360"/>
        </pc:sldMkLst>
        <pc:spChg chg="mod">
          <ac:chgData name="Mattia Volpato" userId="d4750074-1d82-4b06-bea9-f9f846aceec4" providerId="ADAL" clId="{598E0B15-66F7-4D4D-9F75-C859811114CD}" dt="2025-09-17T11:57:39.238" v="4442" actId="21"/>
          <ac:spMkLst>
            <pc:docMk/>
            <pc:sldMk cId="824295946" sldId="360"/>
            <ac:spMk id="3" creationId="{E3DDB42D-5428-7512-AFAE-E26ECDFD9C90}"/>
          </ac:spMkLst>
        </pc:spChg>
        <pc:spChg chg="add mod">
          <ac:chgData name="Mattia Volpato" userId="d4750074-1d82-4b06-bea9-f9f846aceec4" providerId="ADAL" clId="{598E0B15-66F7-4D4D-9F75-C859811114CD}" dt="2025-09-17T11:56:48.889" v="4411" actId="14100"/>
          <ac:spMkLst>
            <pc:docMk/>
            <pc:sldMk cId="824295946" sldId="360"/>
            <ac:spMk id="4" creationId="{57FBE0CC-1239-7065-3760-BA146556E096}"/>
          </ac:spMkLst>
        </pc:spChg>
        <pc:spChg chg="del">
          <ac:chgData name="Mattia Volpato" userId="d4750074-1d82-4b06-bea9-f9f846aceec4" providerId="ADAL" clId="{598E0B15-66F7-4D4D-9F75-C859811114CD}" dt="2025-09-17T09:47:38.576" v="4256" actId="478"/>
          <ac:spMkLst>
            <pc:docMk/>
            <pc:sldMk cId="824295946" sldId="360"/>
            <ac:spMk id="5" creationId="{99487934-C31A-7FE7-1401-4B2CC39FBF05}"/>
          </ac:spMkLst>
        </pc:spChg>
        <pc:spChg chg="add mod">
          <ac:chgData name="Mattia Volpato" userId="d4750074-1d82-4b06-bea9-f9f846aceec4" providerId="ADAL" clId="{598E0B15-66F7-4D4D-9F75-C859811114CD}" dt="2025-09-17T11:57:08.273" v="4424" actId="20577"/>
          <ac:spMkLst>
            <pc:docMk/>
            <pc:sldMk cId="824295946" sldId="360"/>
            <ac:spMk id="7" creationId="{0471206B-9966-921E-2E48-0D9B06833E40}"/>
          </ac:spMkLst>
        </pc:spChg>
        <pc:spChg chg="add del mod">
          <ac:chgData name="Mattia Volpato" userId="d4750074-1d82-4b06-bea9-f9f846aceec4" providerId="ADAL" clId="{598E0B15-66F7-4D4D-9F75-C859811114CD}" dt="2025-09-17T09:49:02.096" v="4314" actId="478"/>
          <ac:spMkLst>
            <pc:docMk/>
            <pc:sldMk cId="824295946" sldId="360"/>
            <ac:spMk id="8" creationId="{6223465E-981C-ADE3-46D8-D79AD231F4E7}"/>
          </ac:spMkLst>
        </pc:spChg>
        <pc:spChg chg="add del mod">
          <ac:chgData name="Mattia Volpato" userId="d4750074-1d82-4b06-bea9-f9f846aceec4" providerId="ADAL" clId="{598E0B15-66F7-4D4D-9F75-C859811114CD}" dt="2025-09-17T09:49:02.789" v="4315" actId="478"/>
          <ac:spMkLst>
            <pc:docMk/>
            <pc:sldMk cId="824295946" sldId="360"/>
            <ac:spMk id="9" creationId="{776CC7BB-E942-C0B8-C85A-264D2DE1F606}"/>
          </ac:spMkLst>
        </pc:spChg>
        <pc:spChg chg="del">
          <ac:chgData name="Mattia Volpato" userId="d4750074-1d82-4b06-bea9-f9f846aceec4" providerId="ADAL" clId="{598E0B15-66F7-4D4D-9F75-C859811114CD}" dt="2025-09-17T09:47:26.330" v="4246" actId="478"/>
          <ac:spMkLst>
            <pc:docMk/>
            <pc:sldMk cId="824295946" sldId="360"/>
            <ac:spMk id="10" creationId="{3D9A6A8D-5F7E-B462-7AA8-A7A1CF00FF3B}"/>
          </ac:spMkLst>
        </pc:spChg>
        <pc:spChg chg="add del mod">
          <ac:chgData name="Mattia Volpato" userId="d4750074-1d82-4b06-bea9-f9f846aceec4" providerId="ADAL" clId="{598E0B15-66F7-4D4D-9F75-C859811114CD}" dt="2025-09-17T11:57:12.659" v="4425" actId="478"/>
          <ac:spMkLst>
            <pc:docMk/>
            <pc:sldMk cId="824295946" sldId="360"/>
            <ac:spMk id="11" creationId="{B6D5471D-F136-C781-28C4-598AFCD599F9}"/>
          </ac:spMkLst>
        </pc:spChg>
        <pc:spChg chg="add del mod">
          <ac:chgData name="Mattia Volpato" userId="d4750074-1d82-4b06-bea9-f9f846aceec4" providerId="ADAL" clId="{598E0B15-66F7-4D4D-9F75-C859811114CD}" dt="2025-09-17T11:57:15.021" v="4428" actId="478"/>
          <ac:spMkLst>
            <pc:docMk/>
            <pc:sldMk cId="824295946" sldId="360"/>
            <ac:spMk id="12" creationId="{CFC877EE-A1E4-F54E-4F1B-3ED45779BD1C}"/>
          </ac:spMkLst>
        </pc:spChg>
        <pc:spChg chg="add del mod">
          <ac:chgData name="Mattia Volpato" userId="d4750074-1d82-4b06-bea9-f9f846aceec4" providerId="ADAL" clId="{598E0B15-66F7-4D4D-9F75-C859811114CD}" dt="2025-09-17T11:57:12.661" v="4427"/>
          <ac:spMkLst>
            <pc:docMk/>
            <pc:sldMk cId="824295946" sldId="360"/>
            <ac:spMk id="13" creationId="{5A243051-556C-A4EB-D0E0-9F047F41BCA8}"/>
          </ac:spMkLst>
        </pc:spChg>
        <pc:spChg chg="del">
          <ac:chgData name="Mattia Volpato" userId="d4750074-1d82-4b06-bea9-f9f846aceec4" providerId="ADAL" clId="{598E0B15-66F7-4D4D-9F75-C859811114CD}" dt="2025-09-17T09:47:36.202" v="4252" actId="478"/>
          <ac:spMkLst>
            <pc:docMk/>
            <pc:sldMk cId="824295946" sldId="360"/>
            <ac:spMk id="14" creationId="{88A80E17-5551-6B2E-F05C-010350757B8B}"/>
          </ac:spMkLst>
        </pc:spChg>
        <pc:spChg chg="del">
          <ac:chgData name="Mattia Volpato" userId="d4750074-1d82-4b06-bea9-f9f846aceec4" providerId="ADAL" clId="{598E0B15-66F7-4D4D-9F75-C859811114CD}" dt="2025-09-17T09:47:29.062" v="4247" actId="478"/>
          <ac:spMkLst>
            <pc:docMk/>
            <pc:sldMk cId="824295946" sldId="360"/>
            <ac:spMk id="17" creationId="{07143CA1-2BA3-14E2-C21C-171915BBE7C9}"/>
          </ac:spMkLst>
        </pc:spChg>
        <pc:spChg chg="del mod">
          <ac:chgData name="Mattia Volpato" userId="d4750074-1d82-4b06-bea9-f9f846aceec4" providerId="ADAL" clId="{598E0B15-66F7-4D4D-9F75-C859811114CD}" dt="2025-09-17T09:47:35.227" v="4251" actId="478"/>
          <ac:spMkLst>
            <pc:docMk/>
            <pc:sldMk cId="824295946" sldId="360"/>
            <ac:spMk id="19" creationId="{8DFD43EC-23F0-40FF-E4CB-0470B709D4DA}"/>
          </ac:spMkLst>
        </pc:spChg>
        <pc:spChg chg="del">
          <ac:chgData name="Mattia Volpato" userId="d4750074-1d82-4b06-bea9-f9f846aceec4" providerId="ADAL" clId="{598E0B15-66F7-4D4D-9F75-C859811114CD}" dt="2025-09-17T09:47:33.942" v="4249" actId="478"/>
          <ac:spMkLst>
            <pc:docMk/>
            <pc:sldMk cId="824295946" sldId="360"/>
            <ac:spMk id="20" creationId="{DEFE53E9-2FCB-1A94-A29C-CC0C5C5DF0E6}"/>
          </ac:spMkLst>
        </pc:spChg>
        <pc:spChg chg="del mod">
          <ac:chgData name="Mattia Volpato" userId="d4750074-1d82-4b06-bea9-f9f846aceec4" providerId="ADAL" clId="{598E0B15-66F7-4D4D-9F75-C859811114CD}" dt="2025-09-17T09:47:37.998" v="4255" actId="478"/>
          <ac:spMkLst>
            <pc:docMk/>
            <pc:sldMk cId="824295946" sldId="360"/>
            <ac:spMk id="22" creationId="{CF301BC6-8C35-395E-A683-B42CCB505FA5}"/>
          </ac:spMkLst>
        </pc:spChg>
        <pc:spChg chg="del">
          <ac:chgData name="Mattia Volpato" userId="d4750074-1d82-4b06-bea9-f9f846aceec4" providerId="ADAL" clId="{598E0B15-66F7-4D4D-9F75-C859811114CD}" dt="2025-09-17T09:47:36.807" v="4253" actId="478"/>
          <ac:spMkLst>
            <pc:docMk/>
            <pc:sldMk cId="824295946" sldId="360"/>
            <ac:spMk id="23" creationId="{CC5163FB-78C6-2937-0832-BEBD9189F4F2}"/>
          </ac:spMkLst>
        </pc:spChg>
        <pc:picChg chg="del">
          <ac:chgData name="Mattia Volpato" userId="d4750074-1d82-4b06-bea9-f9f846aceec4" providerId="ADAL" clId="{598E0B15-66F7-4D4D-9F75-C859811114CD}" dt="2025-09-17T09:47:33.139" v="4248" actId="478"/>
          <ac:picMkLst>
            <pc:docMk/>
            <pc:sldMk cId="824295946" sldId="360"/>
            <ac:picMk id="18" creationId="{8E8D9C59-CA11-8CF6-C86B-DC1BF627A92E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7T13:52:06.304" v="5605" actId="207"/>
        <pc:sldMkLst>
          <pc:docMk/>
          <pc:sldMk cId="399415078" sldId="361"/>
        </pc:sldMkLst>
        <pc:spChg chg="mod">
          <ac:chgData name="Mattia Volpato" userId="d4750074-1d82-4b06-bea9-f9f846aceec4" providerId="ADAL" clId="{598E0B15-66F7-4D4D-9F75-C859811114CD}" dt="2025-09-17T11:59:55.799" v="4497" actId="20577"/>
          <ac:spMkLst>
            <pc:docMk/>
            <pc:sldMk cId="399415078" sldId="361"/>
            <ac:spMk id="3" creationId="{9350B142-7CE5-7DB9-C28B-673C6F4DAD14}"/>
          </ac:spMkLst>
        </pc:spChg>
        <pc:spChg chg="add del mod">
          <ac:chgData name="Mattia Volpato" userId="d4750074-1d82-4b06-bea9-f9f846aceec4" providerId="ADAL" clId="{598E0B15-66F7-4D4D-9F75-C859811114CD}" dt="2025-09-17T13:16:31.797" v="4913" actId="21"/>
          <ac:spMkLst>
            <pc:docMk/>
            <pc:sldMk cId="399415078" sldId="361"/>
            <ac:spMk id="4" creationId="{4462C923-6FA2-272F-6B6B-196C062DE618}"/>
          </ac:spMkLst>
        </pc:spChg>
        <pc:spChg chg="del mod">
          <ac:chgData name="Mattia Volpato" userId="d4750074-1d82-4b06-bea9-f9f846aceec4" providerId="ADAL" clId="{598E0B15-66F7-4D4D-9F75-C859811114CD}" dt="2025-09-17T13:16:31.797" v="4913" actId="21"/>
          <ac:spMkLst>
            <pc:docMk/>
            <pc:sldMk cId="399415078" sldId="361"/>
            <ac:spMk id="7" creationId="{D04A9198-7944-C232-84B6-AC4CC8AEC87E}"/>
          </ac:spMkLst>
        </pc:spChg>
        <pc:spChg chg="add del mod">
          <ac:chgData name="Mattia Volpato" userId="d4750074-1d82-4b06-bea9-f9f846aceec4" providerId="ADAL" clId="{598E0B15-66F7-4D4D-9F75-C859811114CD}" dt="2025-09-17T13:15:41.932" v="4900"/>
          <ac:spMkLst>
            <pc:docMk/>
            <pc:sldMk cId="399415078" sldId="361"/>
            <ac:spMk id="8" creationId="{254DA31D-4104-EA47-C281-1A4EDC06DA9A}"/>
          </ac:spMkLst>
        </pc:spChg>
        <pc:spChg chg="add mod">
          <ac:chgData name="Mattia Volpato" userId="d4750074-1d82-4b06-bea9-f9f846aceec4" providerId="ADAL" clId="{598E0B15-66F7-4D4D-9F75-C859811114CD}" dt="2025-09-17T13:16:37.834" v="4914" actId="1076"/>
          <ac:spMkLst>
            <pc:docMk/>
            <pc:sldMk cId="399415078" sldId="361"/>
            <ac:spMk id="9" creationId="{50504B79-3CF8-C140-7413-512096A73108}"/>
          </ac:spMkLst>
        </pc:spChg>
        <pc:spChg chg="add mod">
          <ac:chgData name="Mattia Volpato" userId="d4750074-1d82-4b06-bea9-f9f846aceec4" providerId="ADAL" clId="{598E0B15-66F7-4D4D-9F75-C859811114CD}" dt="2025-09-17T13:19:12.895" v="4944" actId="113"/>
          <ac:spMkLst>
            <pc:docMk/>
            <pc:sldMk cId="399415078" sldId="361"/>
            <ac:spMk id="10" creationId="{A6B24794-5920-3CFC-EF96-853D7C364093}"/>
          </ac:spMkLst>
        </pc:spChg>
        <pc:spChg chg="add mod">
          <ac:chgData name="Mattia Volpato" userId="d4750074-1d82-4b06-bea9-f9f846aceec4" providerId="ADAL" clId="{598E0B15-66F7-4D4D-9F75-C859811114CD}" dt="2025-09-17T13:23:24.918" v="5064" actId="1076"/>
          <ac:spMkLst>
            <pc:docMk/>
            <pc:sldMk cId="399415078" sldId="361"/>
            <ac:spMk id="11" creationId="{F5B465B8-1A1E-F6C2-AFD2-0BA9570DAA4F}"/>
          </ac:spMkLst>
        </pc:spChg>
        <pc:spChg chg="add mod">
          <ac:chgData name="Mattia Volpato" userId="d4750074-1d82-4b06-bea9-f9f846aceec4" providerId="ADAL" clId="{598E0B15-66F7-4D4D-9F75-C859811114CD}" dt="2025-09-17T13:16:06.905" v="4904" actId="1076"/>
          <ac:spMkLst>
            <pc:docMk/>
            <pc:sldMk cId="399415078" sldId="361"/>
            <ac:spMk id="12" creationId="{387EBDE5-BA3B-1317-A51B-A9F4B553B1D4}"/>
          </ac:spMkLst>
        </pc:spChg>
        <pc:spChg chg="add mod">
          <ac:chgData name="Mattia Volpato" userId="d4750074-1d82-4b06-bea9-f9f846aceec4" providerId="ADAL" clId="{598E0B15-66F7-4D4D-9F75-C859811114CD}" dt="2025-09-17T13:52:06.304" v="5605" actId="207"/>
          <ac:spMkLst>
            <pc:docMk/>
            <pc:sldMk cId="399415078" sldId="361"/>
            <ac:spMk id="13" creationId="{030A79EC-99DC-475E-23F0-BE20E5E2CA68}"/>
          </ac:spMkLst>
        </pc:spChg>
        <pc:spChg chg="add mod">
          <ac:chgData name="Mattia Volpato" userId="d4750074-1d82-4b06-bea9-f9f846aceec4" providerId="ADAL" clId="{598E0B15-66F7-4D4D-9F75-C859811114CD}" dt="2025-09-17T13:16:42.803" v="4916" actId="1076"/>
          <ac:spMkLst>
            <pc:docMk/>
            <pc:sldMk cId="399415078" sldId="361"/>
            <ac:spMk id="14" creationId="{4462C923-6FA2-272F-6B6B-196C062DE618}"/>
          </ac:spMkLst>
        </pc:spChg>
        <pc:spChg chg="add mod">
          <ac:chgData name="Mattia Volpato" userId="d4750074-1d82-4b06-bea9-f9f846aceec4" providerId="ADAL" clId="{598E0B15-66F7-4D4D-9F75-C859811114CD}" dt="2025-09-17T13:23:28.149" v="5065" actId="1076"/>
          <ac:spMkLst>
            <pc:docMk/>
            <pc:sldMk cId="399415078" sldId="361"/>
            <ac:spMk id="15" creationId="{D04A9198-7944-C232-84B6-AC4CC8AEC87E}"/>
          </ac:spMkLst>
        </pc:spChg>
        <pc:spChg chg="add del mod">
          <ac:chgData name="Mattia Volpato" userId="d4750074-1d82-4b06-bea9-f9f846aceec4" providerId="ADAL" clId="{598E0B15-66F7-4D4D-9F75-C859811114CD}" dt="2025-09-17T13:27:19.127" v="5184" actId="478"/>
          <ac:spMkLst>
            <pc:docMk/>
            <pc:sldMk cId="399415078" sldId="361"/>
            <ac:spMk id="16" creationId="{DB22B5F1-3212-68E4-8475-BFDED278C3AF}"/>
          </ac:spMkLst>
        </pc:spChg>
        <pc:picChg chg="add del mod">
          <ac:chgData name="Mattia Volpato" userId="d4750074-1d82-4b06-bea9-f9f846aceec4" providerId="ADAL" clId="{598E0B15-66F7-4D4D-9F75-C859811114CD}" dt="2025-09-17T13:12:18.044" v="4849" actId="478"/>
          <ac:picMkLst>
            <pc:docMk/>
            <pc:sldMk cId="399415078" sldId="361"/>
            <ac:picMk id="5" creationId="{164E3E8E-9C04-59AA-0B72-2613AF50E0BD}"/>
          </ac:picMkLst>
        </pc:picChg>
      </pc:sldChg>
      <pc:sldChg chg="addSp delSp modSp add del mod">
        <pc:chgData name="Mattia Volpato" userId="d4750074-1d82-4b06-bea9-f9f846aceec4" providerId="ADAL" clId="{598E0B15-66F7-4D4D-9F75-C859811114CD}" dt="2025-09-17T13:26:21.565" v="5179" actId="2696"/>
        <pc:sldMkLst>
          <pc:docMk/>
          <pc:sldMk cId="3430024176" sldId="362"/>
        </pc:sldMkLst>
        <pc:spChg chg="mod">
          <ac:chgData name="Mattia Volpato" userId="d4750074-1d82-4b06-bea9-f9f846aceec4" providerId="ADAL" clId="{598E0B15-66F7-4D4D-9F75-C859811114CD}" dt="2025-09-17T13:08:59.046" v="4788" actId="14100"/>
          <ac:spMkLst>
            <pc:docMk/>
            <pc:sldMk cId="3430024176" sldId="362"/>
            <ac:spMk id="4" creationId="{CFA5C96E-E77A-AE47-DF33-09C6277D5108}"/>
          </ac:spMkLst>
        </pc:spChg>
        <pc:spChg chg="add del mod">
          <ac:chgData name="Mattia Volpato" userId="d4750074-1d82-4b06-bea9-f9f846aceec4" providerId="ADAL" clId="{598E0B15-66F7-4D4D-9F75-C859811114CD}" dt="2025-09-17T12:03:20.572" v="4629"/>
          <ac:spMkLst>
            <pc:docMk/>
            <pc:sldMk cId="3430024176" sldId="362"/>
            <ac:spMk id="5" creationId="{ADB94511-482F-051F-C12E-32C235D4451C}"/>
          </ac:spMkLst>
        </pc:spChg>
        <pc:spChg chg="mod">
          <ac:chgData name="Mattia Volpato" userId="d4750074-1d82-4b06-bea9-f9f846aceec4" providerId="ADAL" clId="{598E0B15-66F7-4D4D-9F75-C859811114CD}" dt="2025-09-17T13:09:01.505" v="4789" actId="14100"/>
          <ac:spMkLst>
            <pc:docMk/>
            <pc:sldMk cId="3430024176" sldId="362"/>
            <ac:spMk id="7" creationId="{23DADF28-AFD1-318A-7A5A-822462AE554F}"/>
          </ac:spMkLst>
        </pc:spChg>
        <pc:picChg chg="add del">
          <ac:chgData name="Mattia Volpato" userId="d4750074-1d82-4b06-bea9-f9f846aceec4" providerId="ADAL" clId="{598E0B15-66F7-4D4D-9F75-C859811114CD}" dt="2025-09-17T13:08:34.624" v="4785" actId="478"/>
          <ac:picMkLst>
            <pc:docMk/>
            <pc:sldMk cId="3430024176" sldId="362"/>
            <ac:picMk id="8" creationId="{5005A78C-AA7D-D751-7F6B-41C5F722BD7D}"/>
          </ac:picMkLst>
        </pc:picChg>
        <pc:picChg chg="add mod">
          <ac:chgData name="Mattia Volpato" userId="d4750074-1d82-4b06-bea9-f9f846aceec4" providerId="ADAL" clId="{598E0B15-66F7-4D4D-9F75-C859811114CD}" dt="2025-09-17T13:09:09.214" v="4792" actId="1076"/>
          <ac:picMkLst>
            <pc:docMk/>
            <pc:sldMk cId="3430024176" sldId="362"/>
            <ac:picMk id="10" creationId="{2C13214A-7274-E00C-D195-7A24CBBFD3FC}"/>
          </ac:picMkLst>
        </pc:picChg>
      </pc:sldChg>
      <pc:sldChg chg="modSp add mod">
        <pc:chgData name="Mattia Volpato" userId="d4750074-1d82-4b06-bea9-f9f846aceec4" providerId="ADAL" clId="{598E0B15-66F7-4D4D-9F75-C859811114CD}" dt="2025-09-17T13:52:10.114" v="5606" actId="207"/>
        <pc:sldMkLst>
          <pc:docMk/>
          <pc:sldMk cId="2169029525" sldId="363"/>
        </pc:sldMkLst>
        <pc:spChg chg="mod">
          <ac:chgData name="Mattia Volpato" userId="d4750074-1d82-4b06-bea9-f9f846aceec4" providerId="ADAL" clId="{598E0B15-66F7-4D4D-9F75-C859811114CD}" dt="2025-09-17T13:22:36.740" v="5051"/>
          <ac:spMkLst>
            <pc:docMk/>
            <pc:sldMk cId="2169029525" sldId="363"/>
            <ac:spMk id="3" creationId="{7DB16428-270F-F2F0-81D5-1B7CEA169FC2}"/>
          </ac:spMkLst>
        </pc:spChg>
        <pc:spChg chg="mod">
          <ac:chgData name="Mattia Volpato" userId="d4750074-1d82-4b06-bea9-f9f846aceec4" providerId="ADAL" clId="{598E0B15-66F7-4D4D-9F75-C859811114CD}" dt="2025-09-17T13:32:11.342" v="5237" actId="20577"/>
          <ac:spMkLst>
            <pc:docMk/>
            <pc:sldMk cId="2169029525" sldId="363"/>
            <ac:spMk id="9" creationId="{FED43921-0D92-B24B-ACD0-C602B78AE93C}"/>
          </ac:spMkLst>
        </pc:spChg>
        <pc:spChg chg="mod">
          <ac:chgData name="Mattia Volpato" userId="d4750074-1d82-4b06-bea9-f9f846aceec4" providerId="ADAL" clId="{598E0B15-66F7-4D4D-9F75-C859811114CD}" dt="2025-09-17T13:33:08.112" v="5244" actId="113"/>
          <ac:spMkLst>
            <pc:docMk/>
            <pc:sldMk cId="2169029525" sldId="363"/>
            <ac:spMk id="10" creationId="{120C8DA2-D96F-A7E0-00E6-550064277A86}"/>
          </ac:spMkLst>
        </pc:spChg>
        <pc:spChg chg="mod">
          <ac:chgData name="Mattia Volpato" userId="d4750074-1d82-4b06-bea9-f9f846aceec4" providerId="ADAL" clId="{598E0B15-66F7-4D4D-9F75-C859811114CD}" dt="2025-09-17T13:33:13.887" v="5245" actId="113"/>
          <ac:spMkLst>
            <pc:docMk/>
            <pc:sldMk cId="2169029525" sldId="363"/>
            <ac:spMk id="11" creationId="{51FE4029-C68B-E67B-9714-7B0F2A73FBAC}"/>
          </ac:spMkLst>
        </pc:spChg>
        <pc:spChg chg="mod">
          <ac:chgData name="Mattia Volpato" userId="d4750074-1d82-4b06-bea9-f9f846aceec4" providerId="ADAL" clId="{598E0B15-66F7-4D4D-9F75-C859811114CD}" dt="2025-09-17T13:32:27.267" v="5239" actId="1076"/>
          <ac:spMkLst>
            <pc:docMk/>
            <pc:sldMk cId="2169029525" sldId="363"/>
            <ac:spMk id="12" creationId="{1E2E6BDE-BA93-E7BB-FF3D-FC4E28157A0B}"/>
          </ac:spMkLst>
        </pc:spChg>
        <pc:spChg chg="mod">
          <ac:chgData name="Mattia Volpato" userId="d4750074-1d82-4b06-bea9-f9f846aceec4" providerId="ADAL" clId="{598E0B15-66F7-4D4D-9F75-C859811114CD}" dt="2025-09-17T13:52:10.114" v="5606" actId="207"/>
          <ac:spMkLst>
            <pc:docMk/>
            <pc:sldMk cId="2169029525" sldId="363"/>
            <ac:spMk id="13" creationId="{1BC562EF-8E43-7AF4-B5BA-AB751D9ECAF9}"/>
          </ac:spMkLst>
        </pc:spChg>
        <pc:spChg chg="mod">
          <ac:chgData name="Mattia Volpato" userId="d4750074-1d82-4b06-bea9-f9f846aceec4" providerId="ADAL" clId="{598E0B15-66F7-4D4D-9F75-C859811114CD}" dt="2025-09-17T13:32:33.084" v="5241" actId="1076"/>
          <ac:spMkLst>
            <pc:docMk/>
            <pc:sldMk cId="2169029525" sldId="363"/>
            <ac:spMk id="14" creationId="{5E852576-BFB6-CF35-9737-ACDA80B0ED9B}"/>
          </ac:spMkLst>
        </pc:spChg>
        <pc:spChg chg="mod">
          <ac:chgData name="Mattia Volpato" userId="d4750074-1d82-4b06-bea9-f9f846aceec4" providerId="ADAL" clId="{598E0B15-66F7-4D4D-9F75-C859811114CD}" dt="2025-09-17T13:33:08.112" v="5244" actId="113"/>
          <ac:spMkLst>
            <pc:docMk/>
            <pc:sldMk cId="2169029525" sldId="363"/>
            <ac:spMk id="15" creationId="{948C9369-D904-39A5-5C08-C395E2DF01DB}"/>
          </ac:spMkLst>
        </pc:spChg>
      </pc:sldChg>
      <pc:sldChg chg="modSp add mod">
        <pc:chgData name="Mattia Volpato" userId="d4750074-1d82-4b06-bea9-f9f846aceec4" providerId="ADAL" clId="{598E0B15-66F7-4D4D-9F75-C859811114CD}" dt="2025-09-18T20:10:02.832" v="10962" actId="114"/>
        <pc:sldMkLst>
          <pc:docMk/>
          <pc:sldMk cId="2626610180" sldId="364"/>
        </pc:sldMkLst>
        <pc:spChg chg="mod">
          <ac:chgData name="Mattia Volpato" userId="d4750074-1d82-4b06-bea9-f9f846aceec4" providerId="ADAL" clId="{598E0B15-66F7-4D4D-9F75-C859811114CD}" dt="2025-09-18T18:10:50.743" v="8647" actId="20577"/>
          <ac:spMkLst>
            <pc:docMk/>
            <pc:sldMk cId="2626610180" sldId="364"/>
            <ac:spMk id="3" creationId="{7CAF31E4-DB9F-5B2F-7069-053955B02542}"/>
          </ac:spMkLst>
        </pc:spChg>
        <pc:spChg chg="mod">
          <ac:chgData name="Mattia Volpato" userId="d4750074-1d82-4b06-bea9-f9f846aceec4" providerId="ADAL" clId="{598E0B15-66F7-4D4D-9F75-C859811114CD}" dt="2025-09-18T20:10:02.832" v="10962" actId="114"/>
          <ac:spMkLst>
            <pc:docMk/>
            <pc:sldMk cId="2626610180" sldId="364"/>
            <ac:spMk id="6" creationId="{5FA68857-FBCE-7EE8-E18B-9FAE165080EF}"/>
          </ac:spMkLst>
        </pc:spChg>
      </pc:sldChg>
      <pc:sldChg chg="modSp add mod">
        <pc:chgData name="Mattia Volpato" userId="d4750074-1d82-4b06-bea9-f9f846aceec4" providerId="ADAL" clId="{598E0B15-66F7-4D4D-9F75-C859811114CD}" dt="2025-09-18T18:10:57.638" v="8651" actId="20577"/>
        <pc:sldMkLst>
          <pc:docMk/>
          <pc:sldMk cId="2453939964" sldId="365"/>
        </pc:sldMkLst>
        <pc:spChg chg="mod">
          <ac:chgData name="Mattia Volpato" userId="d4750074-1d82-4b06-bea9-f9f846aceec4" providerId="ADAL" clId="{598E0B15-66F7-4D4D-9F75-C859811114CD}" dt="2025-09-18T18:10:57.638" v="8651" actId="20577"/>
          <ac:spMkLst>
            <pc:docMk/>
            <pc:sldMk cId="2453939964" sldId="365"/>
            <ac:spMk id="3" creationId="{A4337C82-9D6F-2F2C-916F-A88A3BA3C28F}"/>
          </ac:spMkLst>
        </pc:spChg>
        <pc:spChg chg="mod">
          <ac:chgData name="Mattia Volpato" userId="d4750074-1d82-4b06-bea9-f9f846aceec4" providerId="ADAL" clId="{598E0B15-66F7-4D4D-9F75-C859811114CD}" dt="2025-09-18T14:46:23.256" v="7155" actId="113"/>
          <ac:spMkLst>
            <pc:docMk/>
            <pc:sldMk cId="2453939964" sldId="365"/>
            <ac:spMk id="6" creationId="{DD2F7D1A-2257-A70B-70E6-974CADA5BE48}"/>
          </ac:spMkLst>
        </pc:spChg>
      </pc:sldChg>
      <pc:sldChg chg="addSp delSp modSp add mod">
        <pc:chgData name="Mattia Volpato" userId="d4750074-1d82-4b06-bea9-f9f846aceec4" providerId="ADAL" clId="{598E0B15-66F7-4D4D-9F75-C859811114CD}" dt="2025-09-18T18:33:19.538" v="9207" actId="20577"/>
        <pc:sldMkLst>
          <pc:docMk/>
          <pc:sldMk cId="1218883514" sldId="366"/>
        </pc:sldMkLst>
        <pc:spChg chg="mod">
          <ac:chgData name="Mattia Volpato" userId="d4750074-1d82-4b06-bea9-f9f846aceec4" providerId="ADAL" clId="{598E0B15-66F7-4D4D-9F75-C859811114CD}" dt="2025-09-18T18:09:11.089" v="8635" actId="20577"/>
          <ac:spMkLst>
            <pc:docMk/>
            <pc:sldMk cId="1218883514" sldId="366"/>
            <ac:spMk id="2" creationId="{16004C87-5E60-58C7-58BF-6FC7CB53FF02}"/>
          </ac:spMkLst>
        </pc:spChg>
        <pc:spChg chg="mod">
          <ac:chgData name="Mattia Volpato" userId="d4750074-1d82-4b06-bea9-f9f846aceec4" providerId="ADAL" clId="{598E0B15-66F7-4D4D-9F75-C859811114CD}" dt="2025-09-18T18:33:19.538" v="9207" actId="20577"/>
          <ac:spMkLst>
            <pc:docMk/>
            <pc:sldMk cId="1218883514" sldId="366"/>
            <ac:spMk id="3" creationId="{936D62E2-7270-F707-11ED-AAE4081A20C2}"/>
          </ac:spMkLst>
        </pc:spChg>
        <pc:spChg chg="del">
          <ac:chgData name="Mattia Volpato" userId="d4750074-1d82-4b06-bea9-f9f846aceec4" providerId="ADAL" clId="{598E0B15-66F7-4D4D-9F75-C859811114CD}" dt="2025-09-18T17:21:09.156" v="7168" actId="478"/>
          <ac:spMkLst>
            <pc:docMk/>
            <pc:sldMk cId="1218883514" sldId="366"/>
            <ac:spMk id="4" creationId="{E5E8C394-415D-679A-ECAD-AA8DBAB4CBE1}"/>
          </ac:spMkLst>
        </pc:spChg>
        <pc:spChg chg="add del mod">
          <ac:chgData name="Mattia Volpato" userId="d4750074-1d82-4b06-bea9-f9f846aceec4" providerId="ADAL" clId="{598E0B15-66F7-4D4D-9F75-C859811114CD}" dt="2025-09-18T17:36:56.745" v="7920" actId="478"/>
          <ac:spMkLst>
            <pc:docMk/>
            <pc:sldMk cId="1218883514" sldId="366"/>
            <ac:spMk id="11" creationId="{1FBAE631-601E-50A9-A87A-5C4F5BDAA617}"/>
          </ac:spMkLst>
        </pc:spChg>
        <pc:spChg chg="add del mod">
          <ac:chgData name="Mattia Volpato" userId="d4750074-1d82-4b06-bea9-f9f846aceec4" providerId="ADAL" clId="{598E0B15-66F7-4D4D-9F75-C859811114CD}" dt="2025-09-18T18:08:51.480" v="8610" actId="478"/>
          <ac:spMkLst>
            <pc:docMk/>
            <pc:sldMk cId="1218883514" sldId="366"/>
            <ac:spMk id="12" creationId="{162EAE1F-F76B-F501-F11E-C14B15211981}"/>
          </ac:spMkLst>
        </pc:spChg>
        <pc:spChg chg="add del mod">
          <ac:chgData name="Mattia Volpato" userId="d4750074-1d82-4b06-bea9-f9f846aceec4" providerId="ADAL" clId="{598E0B15-66F7-4D4D-9F75-C859811114CD}" dt="2025-09-18T18:08:47.870" v="8609" actId="478"/>
          <ac:spMkLst>
            <pc:docMk/>
            <pc:sldMk cId="1218883514" sldId="366"/>
            <ac:spMk id="13" creationId="{3155C278-5798-794D-9FBF-42F0C26E9A82}"/>
          </ac:spMkLst>
        </pc:spChg>
        <pc:spChg chg="add del mod">
          <ac:chgData name="Mattia Volpato" userId="d4750074-1d82-4b06-bea9-f9f846aceec4" providerId="ADAL" clId="{598E0B15-66F7-4D4D-9F75-C859811114CD}" dt="2025-09-18T18:15:43.189" v="8766"/>
          <ac:spMkLst>
            <pc:docMk/>
            <pc:sldMk cId="1218883514" sldId="366"/>
            <ac:spMk id="15" creationId="{2CD35C28-5D9A-EAFE-84BE-5D39B5B2E617}"/>
          </ac:spMkLst>
        </pc:spChg>
        <pc:spChg chg="add del mod">
          <ac:chgData name="Mattia Volpato" userId="d4750074-1d82-4b06-bea9-f9f846aceec4" providerId="ADAL" clId="{598E0B15-66F7-4D4D-9F75-C859811114CD}" dt="2025-09-18T18:14:52.038" v="8749"/>
          <ac:spMkLst>
            <pc:docMk/>
            <pc:sldMk cId="1218883514" sldId="366"/>
            <ac:spMk id="16" creationId="{6707185E-BC18-3E2E-75D7-F1A188E4B8B4}"/>
          </ac:spMkLst>
        </pc:spChg>
        <pc:spChg chg="add mod">
          <ac:chgData name="Mattia Volpato" userId="d4750074-1d82-4b06-bea9-f9f846aceec4" providerId="ADAL" clId="{598E0B15-66F7-4D4D-9F75-C859811114CD}" dt="2025-09-18T18:26:34.388" v="9027" actId="1076"/>
          <ac:spMkLst>
            <pc:docMk/>
            <pc:sldMk cId="1218883514" sldId="366"/>
            <ac:spMk id="17" creationId="{E5DBF48E-1076-47AE-C9F2-2D5B31C5E7FC}"/>
          </ac:spMkLst>
        </pc:spChg>
        <pc:spChg chg="mod">
          <ac:chgData name="Mattia Volpato" userId="d4750074-1d82-4b06-bea9-f9f846aceec4" providerId="ADAL" clId="{598E0B15-66F7-4D4D-9F75-C859811114CD}" dt="2025-09-18T18:24:30.753" v="9008" actId="1076"/>
          <ac:spMkLst>
            <pc:docMk/>
            <pc:sldMk cId="1218883514" sldId="366"/>
            <ac:spMk id="19" creationId="{D73251DE-926F-A7F0-C51D-5E77DF6C3D2D}"/>
          </ac:spMkLst>
        </pc:spChg>
        <pc:spChg chg="del">
          <ac:chgData name="Mattia Volpato" userId="d4750074-1d82-4b06-bea9-f9f846aceec4" providerId="ADAL" clId="{598E0B15-66F7-4D4D-9F75-C859811114CD}" dt="2025-09-18T17:21:10.554" v="7169" actId="478"/>
          <ac:spMkLst>
            <pc:docMk/>
            <pc:sldMk cId="1218883514" sldId="366"/>
            <ac:spMk id="21" creationId="{6939673A-6FA9-82C3-E030-10658B2BCE01}"/>
          </ac:spMkLst>
        </pc:spChg>
        <pc:picChg chg="del">
          <ac:chgData name="Mattia Volpato" userId="d4750074-1d82-4b06-bea9-f9f846aceec4" providerId="ADAL" clId="{598E0B15-66F7-4D4D-9F75-C859811114CD}" dt="2025-09-18T17:21:11.437" v="7170" actId="478"/>
          <ac:picMkLst>
            <pc:docMk/>
            <pc:sldMk cId="1218883514" sldId="366"/>
            <ac:picMk id="5" creationId="{931C7F36-557C-E662-A831-0DDCE894C4C1}"/>
          </ac:picMkLst>
        </pc:picChg>
        <pc:picChg chg="del">
          <ac:chgData name="Mattia Volpato" userId="d4750074-1d82-4b06-bea9-f9f846aceec4" providerId="ADAL" clId="{598E0B15-66F7-4D4D-9F75-C859811114CD}" dt="2025-09-18T17:21:12.264" v="7171" actId="478"/>
          <ac:picMkLst>
            <pc:docMk/>
            <pc:sldMk cId="1218883514" sldId="366"/>
            <ac:picMk id="7" creationId="{AA6BEF70-27A2-A4CE-B8D8-9E828C23B447}"/>
          </ac:picMkLst>
        </pc:picChg>
        <pc:picChg chg="add mod">
          <ac:chgData name="Mattia Volpato" userId="d4750074-1d82-4b06-bea9-f9f846aceec4" providerId="ADAL" clId="{598E0B15-66F7-4D4D-9F75-C859811114CD}" dt="2025-09-18T18:24:27.514" v="9007" actId="1076"/>
          <ac:picMkLst>
            <pc:docMk/>
            <pc:sldMk cId="1218883514" sldId="366"/>
            <ac:picMk id="9" creationId="{DFF3FC5B-9E8A-7DEA-E7FE-9FB41573C50C}"/>
          </ac:picMkLst>
        </pc:picChg>
        <pc:picChg chg="add del mod">
          <ac:chgData name="Mattia Volpato" userId="d4750074-1d82-4b06-bea9-f9f846aceec4" providerId="ADAL" clId="{598E0B15-66F7-4D4D-9F75-C859811114CD}" dt="2025-09-18T17:46:45.826" v="8074" actId="478"/>
          <ac:picMkLst>
            <pc:docMk/>
            <pc:sldMk cId="1218883514" sldId="366"/>
            <ac:picMk id="10" creationId="{4F0151F1-171A-B0D4-8386-D74A9C27F37A}"/>
          </ac:picMkLst>
        </pc:picChg>
      </pc:sldChg>
      <pc:sldChg chg="addSp delSp modSp add del mod">
        <pc:chgData name="Mattia Volpato" userId="d4750074-1d82-4b06-bea9-f9f846aceec4" providerId="ADAL" clId="{598E0B15-66F7-4D4D-9F75-C859811114CD}" dt="2025-09-18T18:33:42.228" v="9214" actId="2696"/>
        <pc:sldMkLst>
          <pc:docMk/>
          <pc:sldMk cId="3604119324" sldId="367"/>
        </pc:sldMkLst>
        <pc:picChg chg="add del mod">
          <ac:chgData name="Mattia Volpato" userId="d4750074-1d82-4b06-bea9-f9f846aceec4" providerId="ADAL" clId="{598E0B15-66F7-4D4D-9F75-C859811114CD}" dt="2025-09-18T17:34:09.750" v="7903" actId="21"/>
          <ac:picMkLst>
            <pc:docMk/>
            <pc:sldMk cId="3604119324" sldId="367"/>
            <ac:picMk id="4" creationId="{4F0151F1-171A-B0D4-8386-D74A9C27F37A}"/>
          </ac:picMkLst>
        </pc:picChg>
        <pc:picChg chg="add del">
          <ac:chgData name="Mattia Volpato" userId="d4750074-1d82-4b06-bea9-f9f846aceec4" providerId="ADAL" clId="{598E0B15-66F7-4D4D-9F75-C859811114CD}" dt="2025-09-18T18:16:59.821" v="8799" actId="21"/>
          <ac:picMkLst>
            <pc:docMk/>
            <pc:sldMk cId="3604119324" sldId="367"/>
            <ac:picMk id="5" creationId="{ACC18557-3922-5C60-33C8-96AFBDAB4624}"/>
          </ac:picMkLst>
        </pc:picChg>
        <pc:picChg chg="del">
          <ac:chgData name="Mattia Volpato" userId="d4750074-1d82-4b06-bea9-f9f846aceec4" providerId="ADAL" clId="{598E0B15-66F7-4D4D-9F75-C859811114CD}" dt="2025-09-18T17:34:05.278" v="7900" actId="478"/>
          <ac:picMkLst>
            <pc:docMk/>
            <pc:sldMk cId="3604119324" sldId="367"/>
            <ac:picMk id="9" creationId="{ACFAD3E8-C684-5269-737B-CACB08EA99A3}"/>
          </ac:picMkLst>
        </pc:picChg>
      </pc:sldChg>
      <pc:sldChg chg="delSp add del mod">
        <pc:chgData name="Mattia Volpato" userId="d4750074-1d82-4b06-bea9-f9f846aceec4" providerId="ADAL" clId="{598E0B15-66F7-4D4D-9F75-C859811114CD}" dt="2025-09-18T18:33:42.228" v="9214" actId="2696"/>
        <pc:sldMkLst>
          <pc:docMk/>
          <pc:sldMk cId="4174519338" sldId="368"/>
        </pc:sldMkLst>
        <pc:picChg chg="del">
          <ac:chgData name="Mattia Volpato" userId="d4750074-1d82-4b06-bea9-f9f846aceec4" providerId="ADAL" clId="{598E0B15-66F7-4D4D-9F75-C859811114CD}" dt="2025-09-18T18:16:50.921" v="8797" actId="21"/>
          <ac:picMkLst>
            <pc:docMk/>
            <pc:sldMk cId="4174519338" sldId="368"/>
            <ac:picMk id="10" creationId="{1C4DD857-D3A9-F77F-8B0D-6C6ED7757270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8T20:12:14.960" v="10990" actId="20577"/>
        <pc:sldMkLst>
          <pc:docMk/>
          <pc:sldMk cId="2702556938" sldId="369"/>
        </pc:sldMkLst>
        <pc:spChg chg="mod">
          <ac:chgData name="Mattia Volpato" userId="d4750074-1d82-4b06-bea9-f9f846aceec4" providerId="ADAL" clId="{598E0B15-66F7-4D4D-9F75-C859811114CD}" dt="2025-09-18T18:33:15.303" v="9203" actId="20577"/>
          <ac:spMkLst>
            <pc:docMk/>
            <pc:sldMk cId="2702556938" sldId="369"/>
            <ac:spMk id="3" creationId="{9CFCC872-CF2F-2B4B-3C72-D772CE49F120}"/>
          </ac:spMkLst>
        </pc:spChg>
        <pc:spChg chg="add mod">
          <ac:chgData name="Mattia Volpato" userId="d4750074-1d82-4b06-bea9-f9f846aceec4" providerId="ADAL" clId="{598E0B15-66F7-4D4D-9F75-C859811114CD}" dt="2025-09-18T18:15:48.935" v="8776" actId="1036"/>
          <ac:spMkLst>
            <pc:docMk/>
            <pc:sldMk cId="2702556938" sldId="369"/>
            <ac:spMk id="4" creationId="{5A796EF3-2394-6F1E-1FC0-68E0AEAE698F}"/>
          </ac:spMkLst>
        </pc:spChg>
        <pc:spChg chg="add mod">
          <ac:chgData name="Mattia Volpato" userId="d4750074-1d82-4b06-bea9-f9f846aceec4" providerId="ADAL" clId="{598E0B15-66F7-4D4D-9F75-C859811114CD}" dt="2025-09-18T18:15:14.367" v="8759" actId="114"/>
          <ac:spMkLst>
            <pc:docMk/>
            <pc:sldMk cId="2702556938" sldId="369"/>
            <ac:spMk id="5" creationId="{81A05424-B213-DC0E-7D7C-0C28DDA7031F}"/>
          </ac:spMkLst>
        </pc:spChg>
        <pc:spChg chg="mod">
          <ac:chgData name="Mattia Volpato" userId="d4750074-1d82-4b06-bea9-f9f846aceec4" providerId="ADAL" clId="{598E0B15-66F7-4D4D-9F75-C859811114CD}" dt="2025-09-18T20:12:14.960" v="10990" actId="20577"/>
          <ac:spMkLst>
            <pc:docMk/>
            <pc:sldMk cId="2702556938" sldId="369"/>
            <ac:spMk id="12" creationId="{7EA9D79F-6AB0-7CD7-A3F3-572DA6AF619C}"/>
          </ac:spMkLst>
        </pc:spChg>
        <pc:spChg chg="mod">
          <ac:chgData name="Mattia Volpato" userId="d4750074-1d82-4b06-bea9-f9f846aceec4" providerId="ADAL" clId="{598E0B15-66F7-4D4D-9F75-C859811114CD}" dt="2025-09-18T17:50:21.933" v="8095" actId="1076"/>
          <ac:spMkLst>
            <pc:docMk/>
            <pc:sldMk cId="2702556938" sldId="369"/>
            <ac:spMk id="13" creationId="{FA7FB2D8-B23E-0154-DC1B-672992B49514}"/>
          </ac:spMkLst>
        </pc:spChg>
        <pc:spChg chg="del mod">
          <ac:chgData name="Mattia Volpato" userId="d4750074-1d82-4b06-bea9-f9f846aceec4" providerId="ADAL" clId="{598E0B15-66F7-4D4D-9F75-C859811114CD}" dt="2025-09-18T18:15:18.431" v="8760" actId="478"/>
          <ac:spMkLst>
            <pc:docMk/>
            <pc:sldMk cId="2702556938" sldId="369"/>
            <ac:spMk id="19" creationId="{17A79B67-D917-18CC-C8C2-0152D51C5DCB}"/>
          </ac:spMkLst>
        </pc:spChg>
        <pc:picChg chg="del">
          <ac:chgData name="Mattia Volpato" userId="d4750074-1d82-4b06-bea9-f9f846aceec4" providerId="ADAL" clId="{598E0B15-66F7-4D4D-9F75-C859811114CD}" dt="2025-09-18T17:49:34.045" v="8091" actId="478"/>
          <ac:picMkLst>
            <pc:docMk/>
            <pc:sldMk cId="2702556938" sldId="369"/>
            <ac:picMk id="9" creationId="{A8979335-01E7-05AD-673B-E2EB24261848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8T19:49:21.946" v="10422" actId="1076"/>
        <pc:sldMkLst>
          <pc:docMk/>
          <pc:sldMk cId="2354243287" sldId="370"/>
        </pc:sldMkLst>
        <pc:spChg chg="mod">
          <ac:chgData name="Mattia Volpato" userId="d4750074-1d82-4b06-bea9-f9f846aceec4" providerId="ADAL" clId="{598E0B15-66F7-4D4D-9F75-C859811114CD}" dt="2025-09-18T18:19:42.506" v="8825" actId="20577"/>
          <ac:spMkLst>
            <pc:docMk/>
            <pc:sldMk cId="2354243287" sldId="370"/>
            <ac:spMk id="2" creationId="{D0669F6F-C851-B00A-9F84-AFFA130CA22D}"/>
          </ac:spMkLst>
        </pc:spChg>
        <pc:spChg chg="mod">
          <ac:chgData name="Mattia Volpato" userId="d4750074-1d82-4b06-bea9-f9f846aceec4" providerId="ADAL" clId="{598E0B15-66F7-4D4D-9F75-C859811114CD}" dt="2025-09-18T18:33:25.518" v="9211" actId="20577"/>
          <ac:spMkLst>
            <pc:docMk/>
            <pc:sldMk cId="2354243287" sldId="370"/>
            <ac:spMk id="3" creationId="{1975E955-B754-234C-5F98-D635B2BC24A9}"/>
          </ac:spMkLst>
        </pc:spChg>
        <pc:spChg chg="add mod">
          <ac:chgData name="Mattia Volpato" userId="d4750074-1d82-4b06-bea9-f9f846aceec4" providerId="ADAL" clId="{598E0B15-66F7-4D4D-9F75-C859811114CD}" dt="2025-09-18T18:33:34.806" v="9213" actId="1076"/>
          <ac:spMkLst>
            <pc:docMk/>
            <pc:sldMk cId="2354243287" sldId="370"/>
            <ac:spMk id="4" creationId="{523FE126-9665-0440-84B4-EB8B58C8A08A}"/>
          </ac:spMkLst>
        </pc:spChg>
        <pc:spChg chg="add mod">
          <ac:chgData name="Mattia Volpato" userId="d4750074-1d82-4b06-bea9-f9f846aceec4" providerId="ADAL" clId="{598E0B15-66F7-4D4D-9F75-C859811114CD}" dt="2025-09-18T18:32:35.912" v="9197" actId="113"/>
          <ac:spMkLst>
            <pc:docMk/>
            <pc:sldMk cId="2354243287" sldId="370"/>
            <ac:spMk id="7" creationId="{C905436E-A8BB-E67B-6613-0E780CB49250}"/>
          </ac:spMkLst>
        </pc:spChg>
        <pc:spChg chg="del mod">
          <ac:chgData name="Mattia Volpato" userId="d4750074-1d82-4b06-bea9-f9f846aceec4" providerId="ADAL" clId="{598E0B15-66F7-4D4D-9F75-C859811114CD}" dt="2025-09-18T18:24:53.208" v="9009" actId="21"/>
          <ac:spMkLst>
            <pc:docMk/>
            <pc:sldMk cId="2354243287" sldId="370"/>
            <ac:spMk id="17" creationId="{523FE126-9665-0440-84B4-EB8B58C8A08A}"/>
          </ac:spMkLst>
        </pc:spChg>
        <pc:spChg chg="mod">
          <ac:chgData name="Mattia Volpato" userId="d4750074-1d82-4b06-bea9-f9f846aceec4" providerId="ADAL" clId="{598E0B15-66F7-4D4D-9F75-C859811114CD}" dt="2025-09-18T19:49:17.699" v="10421" actId="20577"/>
          <ac:spMkLst>
            <pc:docMk/>
            <pc:sldMk cId="2354243287" sldId="370"/>
            <ac:spMk id="19" creationId="{77A1586B-B85D-FAD9-25C6-26A71A714163}"/>
          </ac:spMkLst>
        </pc:spChg>
        <pc:picChg chg="add mod">
          <ac:chgData name="Mattia Volpato" userId="d4750074-1d82-4b06-bea9-f9f846aceec4" providerId="ADAL" clId="{598E0B15-66F7-4D4D-9F75-C859811114CD}" dt="2025-09-18T19:49:21.946" v="10422" actId="1076"/>
          <ac:picMkLst>
            <pc:docMk/>
            <pc:sldMk cId="2354243287" sldId="370"/>
            <ac:picMk id="5" creationId="{ACC18557-3922-5C60-33C8-96AFBDAB4624}"/>
          </ac:picMkLst>
        </pc:picChg>
        <pc:picChg chg="mod">
          <ac:chgData name="Mattia Volpato" userId="d4750074-1d82-4b06-bea9-f9f846aceec4" providerId="ADAL" clId="{598E0B15-66F7-4D4D-9F75-C859811114CD}" dt="2025-09-18T18:33:31.955" v="9212" actId="1076"/>
          <ac:picMkLst>
            <pc:docMk/>
            <pc:sldMk cId="2354243287" sldId="370"/>
            <ac:picMk id="9" creationId="{0AA6F78F-CBFF-4F75-1291-29C45C982BC3}"/>
          </ac:picMkLst>
        </pc:picChg>
      </pc:sldChg>
      <pc:sldChg chg="delSp modSp add del mod">
        <pc:chgData name="Mattia Volpato" userId="d4750074-1d82-4b06-bea9-f9f846aceec4" providerId="ADAL" clId="{598E0B15-66F7-4D4D-9F75-C859811114CD}" dt="2025-09-18T19:59:59.167" v="10695" actId="2696"/>
        <pc:sldMkLst>
          <pc:docMk/>
          <pc:sldMk cId="1147401088" sldId="371"/>
        </pc:sldMkLst>
        <pc:spChg chg="mod">
          <ac:chgData name="Mattia Volpato" userId="d4750074-1d82-4b06-bea9-f9f846aceec4" providerId="ADAL" clId="{598E0B15-66F7-4D4D-9F75-C859811114CD}" dt="2025-09-18T19:58:25.939" v="10694" actId="20577"/>
          <ac:spMkLst>
            <pc:docMk/>
            <pc:sldMk cId="1147401088" sldId="371"/>
            <ac:spMk id="3" creationId="{707754F2-0DA2-CE1B-DE82-02E773F54A88}"/>
          </ac:spMkLst>
        </pc:spChg>
        <pc:spChg chg="del mod">
          <ac:chgData name="Mattia Volpato" userId="d4750074-1d82-4b06-bea9-f9f846aceec4" providerId="ADAL" clId="{598E0B15-66F7-4D4D-9F75-C859811114CD}" dt="2025-09-18T19:16:04.067" v="10325" actId="478"/>
          <ac:spMkLst>
            <pc:docMk/>
            <pc:sldMk cId="1147401088" sldId="371"/>
            <ac:spMk id="10" creationId="{91FAFA79-7538-76FC-06DC-FAED4D8852AA}"/>
          </ac:spMkLst>
        </pc:spChg>
        <pc:spChg chg="del">
          <ac:chgData name="Mattia Volpato" userId="d4750074-1d82-4b06-bea9-f9f846aceec4" providerId="ADAL" clId="{598E0B15-66F7-4D4D-9F75-C859811114CD}" dt="2025-09-18T18:48:55.108" v="9709" actId="478"/>
          <ac:spMkLst>
            <pc:docMk/>
            <pc:sldMk cId="1147401088" sldId="371"/>
            <ac:spMk id="11" creationId="{7F334D9C-892C-44E1-2CE9-CA6E766ADC8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743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561243-3352-CAF2-335C-708A4B817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60F10-E789-6A8C-A784-5994419013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5705AC-61BF-0D9E-D541-06A126EF61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905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796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E62E4B-BF97-70EF-9772-0A95A8D0C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62E4B-BF97-70EF-9772-0A95A8D0C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2916" y="3694070"/>
            <a:ext cx="5987034" cy="445497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2916" y="1897560"/>
            <a:ext cx="5987034" cy="169364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28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ED0CD4A-C167-C03D-FE7E-7A04D7F2341D}"/>
              </a:ext>
            </a:extLst>
          </p:cNvPr>
          <p:cNvSpPr/>
          <p:nvPr userDrawn="1"/>
        </p:nvSpPr>
        <p:spPr>
          <a:xfrm>
            <a:off x="3029578" y="1612923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B9F141-A770-D09D-FF25-51A4C30E1F6A}"/>
              </a:ext>
            </a:extLst>
          </p:cNvPr>
          <p:cNvSpPr/>
          <p:nvPr userDrawn="1"/>
        </p:nvSpPr>
        <p:spPr>
          <a:xfrm>
            <a:off x="708089" y="2308247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C2A2C-68D6-9928-E8F6-51C6FBE496C9}"/>
              </a:ext>
            </a:extLst>
          </p:cNvPr>
          <p:cNvSpPr/>
          <p:nvPr userDrawn="1"/>
        </p:nvSpPr>
        <p:spPr>
          <a:xfrm>
            <a:off x="5778179" y="4178618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774545-8CA4-0234-9C28-6D5FE7FA9DA7}"/>
              </a:ext>
            </a:extLst>
          </p:cNvPr>
          <p:cNvSpPr/>
          <p:nvPr userDrawn="1"/>
        </p:nvSpPr>
        <p:spPr>
          <a:xfrm>
            <a:off x="8859554" y="3497126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lide Number Placeholder 20">
            <a:extLst>
              <a:ext uri="{FF2B5EF4-FFF2-40B4-BE49-F238E27FC236}">
                <a16:creationId xmlns:a16="http://schemas.microsoft.com/office/drawing/2014/main" id="{8F4631FC-738A-EA52-E171-FCA96CD1AF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741414" y="4899946"/>
            <a:ext cx="2057400" cy="194142"/>
          </a:xfrm>
        </p:spPr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5943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39746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57200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2539746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690ACF7-A408-80E0-A25E-8A9F74C3F2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622292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DEA59C2-DB92-D43E-C415-F2F3982923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704838" y="1877674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1781E3-ED60-E5E7-C672-6460D334A22A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622292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B5BF9F1-DF69-2318-71B1-9FBF8A1100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704838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5552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990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1.bin"/><Relationship Id="rId5" Type="http://schemas.openxmlformats.org/officeDocument/2006/relationships/tags" Target="../tags/tag10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9" r:id="rId2"/>
    <p:sldLayoutId id="2147483708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image" Target="../media/image18.emf"/><Relationship Id="rId18" Type="http://schemas.openxmlformats.org/officeDocument/2006/relationships/image" Target="../media/image20.png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oleObject" Target="../embeddings/oleObject8.bin"/><Relationship Id="rId17" Type="http://schemas.openxmlformats.org/officeDocument/2006/relationships/image" Target="../media/image24.png"/><Relationship Id="rId2" Type="http://schemas.openxmlformats.org/officeDocument/2006/relationships/tags" Target="../tags/tag68.xml"/><Relationship Id="rId16" Type="http://schemas.openxmlformats.org/officeDocument/2006/relationships/tags" Target="../tags/tag74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1.xml"/><Relationship Id="rId15" Type="http://schemas.openxmlformats.org/officeDocument/2006/relationships/image" Target="../media/image19.png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7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image" Target="../media/image21.emf"/><Relationship Id="rId18" Type="http://schemas.openxmlformats.org/officeDocument/2006/relationships/image" Target="../media/image25.png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oleObject" Target="../embeddings/oleObject9.bin"/><Relationship Id="rId17" Type="http://schemas.openxmlformats.org/officeDocument/2006/relationships/tags" Target="../tags/tag87.xml"/><Relationship Id="rId2" Type="http://schemas.openxmlformats.org/officeDocument/2006/relationships/tags" Target="../tags/tag79.xml"/><Relationship Id="rId16" Type="http://schemas.openxmlformats.org/officeDocument/2006/relationships/image" Target="../media/image23.png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2.xml"/><Relationship Id="rId15" Type="http://schemas.openxmlformats.org/officeDocument/2006/relationships/image" Target="../media/image22.png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8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7.emf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oleObject" Target="../embeddings/oleObject6.bin"/><Relationship Id="rId17" Type="http://schemas.openxmlformats.org/officeDocument/2006/relationships/image" Target="../media/image27.png"/><Relationship Id="rId2" Type="http://schemas.openxmlformats.org/officeDocument/2006/relationships/tags" Target="../tags/tag90.xml"/><Relationship Id="rId16" Type="http://schemas.openxmlformats.org/officeDocument/2006/relationships/tags" Target="../tags/tag95.xml"/><Relationship Id="rId1" Type="http://schemas.openxmlformats.org/officeDocument/2006/relationships/tags" Target="../tags/tag88.xml"/><Relationship Id="rId6" Type="http://schemas.openxmlformats.org/officeDocument/2006/relationships/tags" Target="../tags/tag9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3.xml"/><Relationship Id="rId15" Type="http://schemas.openxmlformats.org/officeDocument/2006/relationships/image" Target="../media/image26.png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9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image" Target="../media/image28.png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image" Target="../media/image24.emf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0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image" Target="../media/image31.png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0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7.emf"/><Relationship Id="rId5" Type="http://schemas.openxmlformats.org/officeDocument/2006/relationships/tags" Target="../tags/tag112.xml"/><Relationship Id="rId10" Type="http://schemas.openxmlformats.org/officeDocument/2006/relationships/oleObject" Target="../embeddings/oleObject6.bin"/><Relationship Id="rId4" Type="http://schemas.openxmlformats.org/officeDocument/2006/relationships/tags" Target="../tags/tag111.xml"/><Relationship Id="rId9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1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24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image" Target="../media/image33.png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image" Target="../media/image32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image" Target="../media/image7.emf"/><Relationship Id="rId5" Type="http://schemas.openxmlformats.org/officeDocument/2006/relationships/tags" Target="../tags/tag126.xml"/><Relationship Id="rId10" Type="http://schemas.openxmlformats.org/officeDocument/2006/relationships/oleObject" Target="../embeddings/oleObject6.bin"/><Relationship Id="rId4" Type="http://schemas.openxmlformats.org/officeDocument/2006/relationships/tags" Target="../tags/tag125.xml"/><Relationship Id="rId9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image" Target="../media/image35.png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34.png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image" Target="../media/image7.emf"/><Relationship Id="rId5" Type="http://schemas.openxmlformats.org/officeDocument/2006/relationships/tags" Target="../tags/tag134.xml"/><Relationship Id="rId10" Type="http://schemas.openxmlformats.org/officeDocument/2006/relationships/oleObject" Target="../embeddings/oleObject6.bin"/><Relationship Id="rId4" Type="http://schemas.openxmlformats.org/officeDocument/2006/relationships/tags" Target="../tags/tag133.xml"/><Relationship Id="rId9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39.png"/><Relationship Id="rId3" Type="http://schemas.openxmlformats.org/officeDocument/2006/relationships/tags" Target="../tags/tag140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8.png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image" Target="../media/image37.png"/><Relationship Id="rId5" Type="http://schemas.openxmlformats.org/officeDocument/2006/relationships/tags" Target="../tags/tag142.xml"/><Relationship Id="rId10" Type="http://schemas.openxmlformats.org/officeDocument/2006/relationships/image" Target="../media/image36.png"/><Relationship Id="rId4" Type="http://schemas.openxmlformats.org/officeDocument/2006/relationships/tags" Target="../tags/tag141.xml"/><Relationship Id="rId9" Type="http://schemas.openxmlformats.org/officeDocument/2006/relationships/image" Target="../media/image7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146.xml"/><Relationship Id="rId7" Type="http://schemas.openxmlformats.org/officeDocument/2006/relationships/image" Target="../media/image7.emf"/><Relationship Id="rId12" Type="http://schemas.openxmlformats.org/officeDocument/2006/relationships/image" Target="../media/image44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43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42.png"/><Relationship Id="rId4" Type="http://schemas.openxmlformats.org/officeDocument/2006/relationships/tags" Target="../tags/tag147.xml"/><Relationship Id="rId9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6.png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image" Target="../media/image45.emf"/><Relationship Id="rId5" Type="http://schemas.openxmlformats.org/officeDocument/2006/relationships/tags" Target="../tags/tag152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51.xml"/><Relationship Id="rId9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image" Target="../media/image47.emf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6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59.xml"/><Relationship Id="rId9" Type="http://schemas.openxmlformats.org/officeDocument/2006/relationships/tags" Target="../tags/tag16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45.emf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7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10" Type="http://schemas.openxmlformats.org/officeDocument/2006/relationships/image" Target="../media/image48.png"/><Relationship Id="rId4" Type="http://schemas.openxmlformats.org/officeDocument/2006/relationships/tags" Target="../tags/tag172.xml"/><Relationship Id="rId9" Type="http://schemas.openxmlformats.org/officeDocument/2006/relationships/image" Target="../media/image45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177.xml"/><Relationship Id="rId7" Type="http://schemas.openxmlformats.org/officeDocument/2006/relationships/image" Target="../media/image45.emf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181.xml"/><Relationship Id="rId7" Type="http://schemas.openxmlformats.org/officeDocument/2006/relationships/image" Target="../media/image45.emf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85.xml"/><Relationship Id="rId7" Type="http://schemas.openxmlformats.org/officeDocument/2006/relationships/image" Target="../media/image45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189.xml"/><Relationship Id="rId7" Type="http://schemas.openxmlformats.org/officeDocument/2006/relationships/image" Target="../media/image45.emf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193.xml"/><Relationship Id="rId7" Type="http://schemas.openxmlformats.org/officeDocument/2006/relationships/image" Target="../media/image45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image" Target="../media/image47.emf"/><Relationship Id="rId5" Type="http://schemas.openxmlformats.org/officeDocument/2006/relationships/tags" Target="../tags/tag199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98.xml"/><Relationship Id="rId9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8.jpeg"/><Relationship Id="rId2" Type="http://schemas.openxmlformats.org/officeDocument/2006/relationships/tags" Target="../tags/tag22.xml"/><Relationship Id="rId16" Type="http://schemas.openxmlformats.org/officeDocument/2006/relationships/image" Target="../media/image7.emf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9.emf"/><Relationship Id="rId5" Type="http://schemas.openxmlformats.org/officeDocument/2006/relationships/tags" Target="../tags/tag37.xml"/><Relationship Id="rId10" Type="http://schemas.openxmlformats.org/officeDocument/2006/relationships/oleObject" Target="../embeddings/oleObject7.bin"/><Relationship Id="rId4" Type="http://schemas.openxmlformats.org/officeDocument/2006/relationships/tags" Target="../tags/tag36.xml"/><Relationship Id="rId9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image" Target="../media/image12.png"/><Relationship Id="rId2" Type="http://schemas.openxmlformats.org/officeDocument/2006/relationships/tags" Target="../tags/tag42.xml"/><Relationship Id="rId16" Type="http://schemas.openxmlformats.org/officeDocument/2006/relationships/image" Target="../media/image11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image" Target="../media/image10.png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image" Target="../media/image16.png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15.png"/><Relationship Id="rId2" Type="http://schemas.openxmlformats.org/officeDocument/2006/relationships/tags" Target="../tags/tag55.xml"/><Relationship Id="rId16" Type="http://schemas.openxmlformats.org/officeDocument/2006/relationships/image" Target="../media/image14.png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image" Target="../media/image13.png"/><Relationship Id="rId10" Type="http://schemas.openxmlformats.org/officeDocument/2006/relationships/tags" Target="../tags/tag63.xml"/><Relationship Id="rId19" Type="http://schemas.openxmlformats.org/officeDocument/2006/relationships/image" Target="../media/image17.png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BEA6F-F155-70A5-5A62-8CDB76A72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650B802-3E37-E668-7E9D-E2CFA94030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0B802-3E37-E668-7E9D-E2CFA9403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btitle 10">
            <a:extLst>
              <a:ext uri="{FF2B5EF4-FFF2-40B4-BE49-F238E27FC236}">
                <a16:creationId xmlns:a16="http://schemas.microsoft.com/office/drawing/2014/main" id="{4F2A9384-976C-2F64-4D60-C63A48A2C7F1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87852" y="3440951"/>
            <a:ext cx="3784147" cy="1029276"/>
          </a:xfrm>
        </p:spPr>
        <p:txBody>
          <a:bodyPr>
            <a:normAutofit fontScale="925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noProof="1">
                <a:latin typeface="Aptos Light" panose="020B0004020202020204" pitchFamily="34" charset="0"/>
              </a:rPr>
              <a:t>Candidate</a:t>
            </a:r>
            <a:r>
              <a:rPr lang="en-US" sz="1500" noProof="1">
                <a:latin typeface="Aptos Light" panose="020B0004020202020204" pitchFamily="34" charset="0"/>
              </a:rPr>
              <a:t>: Volpato Mattia</a:t>
            </a:r>
          </a:p>
          <a:p>
            <a:r>
              <a:rPr lang="en-US" sz="1500" b="1" noProof="1">
                <a:latin typeface="Aptos Light" panose="020B0004020202020204" pitchFamily="34" charset="0"/>
              </a:rPr>
              <a:t>Supervisor</a:t>
            </a:r>
            <a:r>
              <a:rPr lang="en-US" sz="1500" noProof="1">
                <a:latin typeface="Aptos Light" panose="020B0004020202020204" pitchFamily="34" charset="0"/>
              </a:rPr>
              <a:t>: Prof. Michele Ciavotta</a:t>
            </a:r>
          </a:p>
          <a:p>
            <a:r>
              <a:rPr lang="en-US" sz="1500" b="1" noProof="1">
                <a:latin typeface="Aptos Light" panose="020B0004020202020204" pitchFamily="34" charset="0"/>
              </a:rPr>
              <a:t>Company Co-Supervisor</a:t>
            </a:r>
            <a:r>
              <a:rPr lang="en-US" sz="1500" noProof="1">
                <a:latin typeface="Aptos Light" panose="020B0004020202020204" pitchFamily="34" charset="0"/>
              </a:rPr>
              <a:t>: Eng. Bruno Puzzolante</a:t>
            </a:r>
          </a:p>
          <a:p>
            <a:endParaRPr lang="en-US" noProof="1">
              <a:solidFill>
                <a:schemeClr val="accent3"/>
              </a:solidFill>
              <a:latin typeface="Aptos Light" panose="020B00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F7F1B92-FA81-C0E6-AFD3-AC6DA67C21D8}"/>
              </a:ext>
            </a:extLst>
          </p:cNvPr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87853" y="1612454"/>
            <a:ext cx="7568293" cy="1383839"/>
          </a:xfrm>
        </p:spPr>
        <p:txBody>
          <a:bodyPr lIns="68580" rIns="68580" bIns="34290">
            <a:normAutofit fontScale="9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900" b="1" noProof="1">
                <a:solidFill>
                  <a:srgbClr val="125E4B"/>
                </a:solidFill>
                <a:latin typeface="Aptos" panose="020B0004020202020204" pitchFamily="34" charset="0"/>
              </a:rPr>
              <a:t>Delay Prediction in Supply Chains:</a:t>
            </a:r>
            <a:br>
              <a:rPr lang="en-US" sz="3300" b="1" noProof="1">
                <a:solidFill>
                  <a:srgbClr val="125E4B"/>
                </a:solidFill>
                <a:latin typeface="Aptos" panose="020B0004020202020204" pitchFamily="34" charset="0"/>
              </a:rPr>
            </a:br>
            <a: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  <a:t>A Hybrid Graph-Based and </a:t>
            </a:r>
            <a:b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</a:br>
            <a: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  <a:t>Machine Learning Approach</a:t>
            </a:r>
          </a:p>
        </p:txBody>
      </p:sp>
      <p:sp>
        <p:nvSpPr>
          <p:cNvPr id="3" name="Subtitle 10">
            <a:extLst>
              <a:ext uri="{FF2B5EF4-FFF2-40B4-BE49-F238E27FC236}">
                <a16:creationId xmlns:a16="http://schemas.microsoft.com/office/drawing/2014/main" id="{C2A4F017-DC93-99B3-A1A2-7912D5AC88C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622595" y="3739228"/>
            <a:ext cx="2023384" cy="730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</a:pPr>
            <a:r>
              <a:rPr lang="it-IT" sz="1500" noProof="1">
                <a:latin typeface="Aptos Light" panose="020B0004020202020204" pitchFamily="34" charset="0"/>
              </a:rPr>
              <a:t>Master degree</a:t>
            </a:r>
          </a:p>
          <a:p>
            <a:pPr algn="r">
              <a:buClrTx/>
            </a:pPr>
            <a:r>
              <a:rPr lang="it-IT" sz="1500" b="1" noProof="1">
                <a:latin typeface="Aptos Light" panose="020B0004020202020204" pitchFamily="34" charset="0"/>
              </a:rPr>
              <a:t>Computer Science</a:t>
            </a:r>
            <a:endParaRPr lang="en-US" sz="1500" b="1" noProof="1">
              <a:latin typeface="Aptos Light" panose="020B00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9BC56246-7E1D-FB6F-E249-421F2E2AC0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34665" y="213692"/>
            <a:ext cx="842962" cy="9191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19607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7C518-36AB-127E-C3FB-0263DE0764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0D7C5AB-DBA6-D1CE-362B-C0567296D94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429250" y="2718181"/>
            <a:ext cx="3452462" cy="1822437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200" noProof="1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39FD02D-7919-148C-4F63-0118573ADA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29250" y="602818"/>
            <a:ext cx="3452462" cy="1968932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200" noProof="1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0F01E98-25D4-4D14-A9D4-7BCD1589254D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F01E98-25D4-4D14-A9D4-7BCD15892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935A64D-9349-7E81-5C1B-A95EDCD3FA0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Supply Chain Graph Mod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Google Shape;703;p114">
                <a:extLst>
                  <a:ext uri="{FF2B5EF4-FFF2-40B4-BE49-F238E27FC236}">
                    <a16:creationId xmlns:a16="http://schemas.microsoft.com/office/drawing/2014/main" id="{2C6AAF22-8B83-97B5-9075-8E66A8CB780C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5513713" y="634564"/>
                <a:ext cx="3234354" cy="18505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6858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5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Directed Acyclic Graph (</a:t>
                </a:r>
                <a:r>
                  <a:rPr lang="en-US" sz="1200" b="1" i="1" noProof="1">
                    <a:solidFill>
                      <a:srgbClr val="125E4B"/>
                    </a:solidFill>
                  </a:rPr>
                  <a:t>DAG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)</a:t>
                </a:r>
              </a:p>
              <a:p>
                <a:pPr>
                  <a:lnSpc>
                    <a:spcPct val="200000"/>
                  </a:lnSpc>
                  <a:spcAft>
                    <a:spcPts val="15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Vertice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partitioned into: 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Supplier site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sources)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Intermediat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facilities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Manufacturer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(sink)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endParaRPr lang="en-US" sz="1200" noProof="1">
                  <a:solidFill>
                    <a:srgbClr val="125E4B"/>
                  </a:solidFill>
                </a:endParaRP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∪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∪</m:t>
                      </m:r>
                      <m:r>
                        <m:rPr>
                          <m:lit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{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𝑚</m:t>
                      </m:r>
                      <m:r>
                        <m:rPr>
                          <m:lit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en-US" sz="1200" noProof="1">
                  <a:solidFill>
                    <a:srgbClr val="125E4B"/>
                  </a:solidFill>
                </a:endParaRPr>
              </a:p>
            </p:txBody>
          </p:sp>
        </mc:Choice>
        <mc:Fallback xmlns="">
          <p:sp>
            <p:nvSpPr>
              <p:cNvPr id="7" name="Google Shape;703;p114">
                <a:extLst>
                  <a:ext uri="{FF2B5EF4-FFF2-40B4-BE49-F238E27FC236}">
                    <a16:creationId xmlns:a16="http://schemas.microsoft.com/office/drawing/2014/main" id="{2C6AAF22-8B83-97B5-9075-8E66A8CB78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5513713" y="634564"/>
                <a:ext cx="3234354" cy="1850556"/>
              </a:xfrm>
              <a:prstGeom prst="rect">
                <a:avLst/>
              </a:prstGeom>
              <a:blipFill>
                <a:blip r:embed="rId15"/>
                <a:stretch>
                  <a:fillRect l="-75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Google Shape;10527;p9415">
            <a:extLst>
              <a:ext uri="{FF2B5EF4-FFF2-40B4-BE49-F238E27FC236}">
                <a16:creationId xmlns:a16="http://schemas.microsoft.com/office/drawing/2014/main" id="{4AF9F62B-A3D1-93B9-6D53-75083F3B39D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94408" y="603246"/>
            <a:ext cx="1055828" cy="1968504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spcFirstLastPara="1" wrap="square" lIns="68580" tIns="68580" rIns="68580" bIns="6858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noProof="1">
                <a:solidFill>
                  <a:schemeClr val="bg1"/>
                </a:solidFill>
                <a:latin typeface="+mj-lt"/>
              </a:rPr>
              <a:t>Graph Structur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Google Shape;703;p114">
                <a:extLst>
                  <a:ext uri="{FF2B5EF4-FFF2-40B4-BE49-F238E27FC236}">
                    <a16:creationId xmlns:a16="http://schemas.microsoft.com/office/drawing/2014/main" id="{D7AFA29D-DD90-72E8-2F5D-DA33CD13CAC6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5513713" y="2718181"/>
                <a:ext cx="3285006" cy="17776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6858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5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Flow func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indicating the number of shipments transited through a given edge.</a:t>
                </a: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ℕ</m:t>
                      </m:r>
                    </m:oMath>
                  </m:oMathPara>
                </a14:m>
                <a:endParaRPr lang="it-IT" sz="1200" b="0" noProof="1">
                  <a:solidFill>
                    <a:srgbClr val="125E4B"/>
                  </a:solidFill>
                </a:endParaRPr>
              </a:p>
              <a:p>
                <a:pPr lvl="1">
                  <a:spcAft>
                    <a:spcPts val="150"/>
                  </a:spcAft>
                </a:pPr>
                <a:endParaRPr lang="it-IT" sz="1200" b="0" noProof="1">
                  <a:solidFill>
                    <a:srgbClr val="125E4B"/>
                  </a:solidFill>
                </a:endParaRPr>
              </a:p>
              <a:p>
                <a:pPr>
                  <a:spcAft>
                    <a:spcPts val="150"/>
                  </a:spcAft>
                </a:pPr>
                <a:r>
                  <a:rPr lang="it-IT" sz="1200" b="1" noProof="1">
                    <a:solidFill>
                      <a:srgbClr val="125E4B"/>
                    </a:solidFill>
                  </a:rPr>
                  <a:t>Flow conservation</a:t>
                </a:r>
                <a:r>
                  <a:rPr lang="it-IT" sz="1200" noProof="1">
                    <a:solidFill>
                      <a:srgbClr val="125E4B"/>
                    </a:solidFill>
                  </a:rPr>
                  <a:t> </a:t>
                </a:r>
                <a:r>
                  <a:rPr lang="it-IT" sz="1200" b="0" noProof="1">
                    <a:solidFill>
                      <a:srgbClr val="125E4B"/>
                    </a:solidFill>
                  </a:rPr>
                  <a:t>on intermediates vertice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guarantees no loss or duplication in shipments.</a:t>
                </a: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brk m:alnAt="7"/>
                                </m:r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  <m:sup/>
                        <m:e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</m:e>
                      </m:nary>
                      <m:nary>
                        <m:naryPr>
                          <m:chr m:val="∑"/>
                          <m:supHide m:val="on"/>
                          <m:ctrlPr>
                            <a:rPr lang="it-IT" sz="120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brk m:alnAt="7"/>
                                </m:r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  <m:sup/>
                        <m:e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,  ∀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</m:nary>
                    </m:oMath>
                  </m:oMathPara>
                </a14:m>
                <a:endParaRPr lang="it-IT" sz="1200" b="0" noProof="1"/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endParaRPr lang="en-US" sz="1200" noProof="1"/>
              </a:p>
              <a:p>
                <a:pPr>
                  <a:spcAft>
                    <a:spcPts val="150"/>
                  </a:spcAft>
                </a:pPr>
                <a:endParaRPr lang="en-US" sz="1200" noProof="1"/>
              </a:p>
            </p:txBody>
          </p:sp>
        </mc:Choice>
        <mc:Fallback xmlns="">
          <p:sp>
            <p:nvSpPr>
              <p:cNvPr id="17" name="Google Shape;703;p114">
                <a:extLst>
                  <a:ext uri="{FF2B5EF4-FFF2-40B4-BE49-F238E27FC236}">
                    <a16:creationId xmlns:a16="http://schemas.microsoft.com/office/drawing/2014/main" id="{D7AFA29D-DD90-72E8-2F5D-DA33CD13CA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5513713" y="2718181"/>
                <a:ext cx="3285006" cy="1777606"/>
              </a:xfrm>
              <a:prstGeom prst="rect">
                <a:avLst/>
              </a:prstGeom>
              <a:blipFill>
                <a:blip r:embed="rId17"/>
                <a:stretch>
                  <a:fillRect l="-2597" b="-4914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E42DB70-AE1B-2487-3EB5-963B49AE89B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9E329A9-BE56-0E56-84A8-02B33464766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62288" y="1030426"/>
            <a:ext cx="3783668" cy="318454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9BEB7FB-3029-BE92-420B-9F551234FE8E}"/>
              </a:ext>
            </a:extLst>
          </p:cNvPr>
          <p:cNvSpPr txBox="1"/>
          <p:nvPr/>
        </p:nvSpPr>
        <p:spPr>
          <a:xfrm>
            <a:off x="2527300" y="3753304"/>
            <a:ext cx="15186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>
                <a:solidFill>
                  <a:srgbClr val="FF0000"/>
                </a:solidFill>
                <a:latin typeface="+mn-lt"/>
              </a:rPr>
              <a:t>Supplier </a:t>
            </a:r>
            <a:r>
              <a:rPr lang="it-IT" sz="1000" dirty="0" err="1">
                <a:solidFill>
                  <a:srgbClr val="FF0000"/>
                </a:solidFill>
                <a:latin typeface="+mn-lt"/>
              </a:rPr>
              <a:t>sites</a:t>
            </a:r>
            <a:endParaRPr lang="it-IT" sz="1000" dirty="0">
              <a:solidFill>
                <a:schemeClr val="tx1"/>
              </a:solidFill>
              <a:latin typeface="+mn-lt"/>
            </a:endParaRPr>
          </a:p>
          <a:p>
            <a:r>
              <a:rPr lang="it-IT" sz="1000" dirty="0">
                <a:solidFill>
                  <a:srgbClr val="00B0F0"/>
                </a:solidFill>
                <a:latin typeface="+mn-lt"/>
              </a:rPr>
              <a:t>Intermediate locations </a:t>
            </a:r>
          </a:p>
          <a:p>
            <a:r>
              <a:rPr lang="it-IT" sz="1000" dirty="0" err="1">
                <a:solidFill>
                  <a:srgbClr val="00B050"/>
                </a:solidFill>
                <a:latin typeface="+mn-lt"/>
              </a:rPr>
              <a:t>Manufacturer</a:t>
            </a:r>
            <a:endParaRPr lang="en-US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F61A6476-139B-6CD3-91BC-9F2FD68320A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294408" y="2718181"/>
            <a:ext cx="1055828" cy="1822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68580" rIns="68580" bIns="6858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>
                <a:solidFill>
                  <a:schemeClr val="bg1"/>
                </a:solidFill>
                <a:latin typeface="+mj-lt"/>
              </a:rPr>
              <a:t>Shipments Flo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8540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578279-0B4E-813A-2EBE-EF73E3F08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B5C79D2-965A-2B21-9A3A-75F5652FB3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5C79D2-965A-2B21-9A3A-75F5652FB3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5F0BC73-D1C8-99B9-AEAA-090EFE260D0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Markov Chain Routing Mod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0CB8B2B5-4DD5-D52F-5C9D-E8DE884AA5E8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899" y="1639719"/>
                <a:ext cx="2220687" cy="17235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34290" anchor="t" anchorCtr="0">
                <a:norm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200" noProof="1"/>
                  <a:t>Shipment flow used to estimate </a:t>
                </a:r>
                <a:r>
                  <a:rPr lang="en-US" sz="1200" b="1" noProof="1"/>
                  <a:t>empirical probabilities</a:t>
                </a:r>
                <a:r>
                  <a:rPr lang="en-US" sz="1200" noProof="1"/>
                  <a:t> of transition:</a:t>
                </a:r>
              </a:p>
              <a:p>
                <a:pPr>
                  <a:spcAft>
                    <a:spcPts val="300"/>
                  </a:spcAft>
                </a:pPr>
                <a:endParaRPr lang="en-US" sz="1200" noProof="1"/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𝑣𝑢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𝑢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d>
                                <m:dPr>
                                  <m:ctrl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7"/>
                                    </m:r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</m:d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  <m:sup/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den>
                      </m:f>
                    </m:oMath>
                  </m:oMathPara>
                </a14:m>
                <a:endParaRPr lang="en-US" sz="1200" noProof="1"/>
              </a:p>
            </p:txBody>
          </p:sp>
        </mc:Choice>
        <mc:Fallback xmlns="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0CB8B2B5-4DD5-D52F-5C9D-E8DE884AA5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342899" y="1639719"/>
                <a:ext cx="2220687" cy="1723547"/>
              </a:xfrm>
              <a:prstGeom prst="rect">
                <a:avLst/>
              </a:prstGeom>
              <a:blipFill>
                <a:blip r:embed="rId15"/>
                <a:stretch>
                  <a:fillRect l="-1096" b="-176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378F589-64E8-489E-9F5E-FD312AA79AE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  <a:endParaRPr lang="en-US" sz="900" cap="all" noProof="1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02D786E8-4340-71AE-804E-B9794F6B5F25}"/>
              </a:ext>
            </a:extLst>
          </p:cNvPr>
          <p:cNvSpPr/>
          <p:nvPr/>
        </p:nvSpPr>
        <p:spPr>
          <a:xfrm rot="5400000">
            <a:off x="377391" y="4247374"/>
            <a:ext cx="137160" cy="8229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 noProof="1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46639CE-2F27-F6FF-2A78-6ADB8D2785E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899" y="3774830"/>
            <a:ext cx="8455819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b="1" noProof="1">
                <a:solidFill>
                  <a:srgbClr val="125E4B"/>
                </a:solidFill>
              </a:rPr>
              <a:t>Shipments</a:t>
            </a:r>
            <a:r>
              <a:rPr lang="en-US" sz="1400" noProof="1">
                <a:solidFill>
                  <a:srgbClr val="125E4B"/>
                </a:solidFill>
              </a:rPr>
              <a:t> are represented as </a:t>
            </a:r>
            <a:r>
              <a:rPr lang="en-US" sz="1400" b="1" noProof="1">
                <a:solidFill>
                  <a:srgbClr val="125E4B"/>
                </a:solidFill>
              </a:rPr>
              <a:t>maximal paths </a:t>
            </a:r>
            <a:r>
              <a:rPr lang="en-US" sz="1400" noProof="1">
                <a:solidFill>
                  <a:srgbClr val="125E4B"/>
                </a:solidFill>
              </a:rPr>
              <a:t>ending in the manufacturer. The </a:t>
            </a:r>
            <a:r>
              <a:rPr lang="en-US" sz="1400" b="1" noProof="1">
                <a:solidFill>
                  <a:srgbClr val="125E4B"/>
                </a:solidFill>
              </a:rPr>
              <a:t>routing process </a:t>
            </a:r>
            <a:r>
              <a:rPr lang="en-US" sz="1400" noProof="1">
                <a:solidFill>
                  <a:srgbClr val="125E4B"/>
                </a:solidFill>
              </a:rPr>
              <a:t>is modeled using </a:t>
            </a:r>
            <a:r>
              <a:rPr lang="en-US" sz="1400" b="1" noProof="1">
                <a:solidFill>
                  <a:srgbClr val="125E4B"/>
                </a:solidFill>
              </a:rPr>
              <a:t>discrete-time Markov chains</a:t>
            </a:r>
            <a:r>
              <a:rPr lang="en-US" sz="1400" noProof="1">
                <a:solidFill>
                  <a:srgbClr val="125E4B"/>
                </a:solidFill>
              </a:rPr>
              <a:t>, capturing shipment trajectories as </a:t>
            </a:r>
            <a:r>
              <a:rPr lang="en-US" sz="1400" b="1" noProof="1">
                <a:solidFill>
                  <a:srgbClr val="125E4B"/>
                </a:solidFill>
              </a:rPr>
              <a:t>stochastic processes </a:t>
            </a:r>
            <a:r>
              <a:rPr lang="en-US" sz="1400" noProof="1">
                <a:solidFill>
                  <a:srgbClr val="125E4B"/>
                </a:solidFill>
              </a:rPr>
              <a:t>based on </a:t>
            </a:r>
            <a:r>
              <a:rPr lang="en-US" sz="1400" b="1" noProof="1">
                <a:solidFill>
                  <a:srgbClr val="125E4B"/>
                </a:solidFill>
              </a:rPr>
              <a:t>empi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transition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probabilities</a:t>
            </a:r>
            <a:r>
              <a:rPr lang="en-US" sz="1400" noProof="1">
                <a:solidFill>
                  <a:srgbClr val="125E4B"/>
                </a:solidFill>
              </a:rPr>
              <a:t> derived from </a:t>
            </a:r>
            <a:r>
              <a:rPr lang="en-US" sz="1400" b="1" noProof="1">
                <a:solidFill>
                  <a:srgbClr val="125E4B"/>
                </a:solidFill>
              </a:rPr>
              <a:t>histo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shipment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flows</a:t>
            </a:r>
            <a:r>
              <a:rPr lang="en-US" sz="1400" noProof="1">
                <a:solidFill>
                  <a:srgbClr val="125E4B"/>
                </a:solidFill>
              </a:rPr>
              <a:t>.</a:t>
            </a:r>
          </a:p>
        </p:txBody>
      </p:sp>
      <p:sp>
        <p:nvSpPr>
          <p:cNvPr id="13" name="Google Shape;10527;p9415">
            <a:extLst>
              <a:ext uri="{FF2B5EF4-FFF2-40B4-BE49-F238E27FC236}">
                <a16:creationId xmlns:a16="http://schemas.microsoft.com/office/drawing/2014/main" id="{77AD366E-28EF-5EC5-6E5B-17D29272698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900" y="970857"/>
            <a:ext cx="2465613" cy="504062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Empirical Probabilities</a:t>
            </a:r>
          </a:p>
        </p:txBody>
      </p:sp>
      <p:sp>
        <p:nvSpPr>
          <p:cNvPr id="6" name="Google Shape;10527;p9415">
            <a:extLst>
              <a:ext uri="{FF2B5EF4-FFF2-40B4-BE49-F238E27FC236}">
                <a16:creationId xmlns:a16="http://schemas.microsoft.com/office/drawing/2014/main" id="{895370E3-1A0B-D833-2B66-CBDEB3D6F4F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824785" y="958735"/>
            <a:ext cx="2816736" cy="504062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Probabilistic Routin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3B3AD733-533C-9429-BF93-9BB95B79A5CD}"/>
                  </a:ext>
                </a:extLst>
              </p:cNvPr>
              <p:cNvSpPr txBox="1"/>
              <p:nvPr/>
            </p:nvSpPr>
            <p:spPr>
              <a:xfrm>
                <a:off x="5762823" y="1639718"/>
                <a:ext cx="2898322" cy="172354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noProof="1">
                    <a:latin typeface="+mn-lt"/>
                  </a:rPr>
                  <a:t>Shipment flows </a:t>
                </a:r>
                <a:r>
                  <a:rPr lang="en-US" sz="1200" b="1" noProof="1">
                    <a:latin typeface="+mn-lt"/>
                  </a:rPr>
                  <a:t>conditioned</a:t>
                </a:r>
                <a:r>
                  <a:rPr lang="en-US" sz="1200" noProof="1">
                    <a:latin typeface="+mn-lt"/>
                  </a:rPr>
                  <a:t> on the specific </a:t>
                </a:r>
                <a:r>
                  <a:rPr lang="en-US" sz="1200" b="1" noProof="1">
                    <a:latin typeface="+mn-lt"/>
                  </a:rPr>
                  <a:t>carrier</a:t>
                </a:r>
                <a:r>
                  <a:rPr lang="en-US" sz="1200" noProof="1">
                    <a:latin typeface="+mn-lt"/>
                  </a:rPr>
                  <a:t> to model distinct routing behaviors:</a:t>
                </a:r>
              </a:p>
              <a:p>
                <a:pPr>
                  <a:spcAft>
                    <a:spcPts val="300"/>
                  </a:spcAft>
                </a:pPr>
                <a:endParaRPr lang="en-US" sz="1200" noProof="1"/>
              </a:p>
              <a:p>
                <a:pPr>
                  <a:spcAft>
                    <a:spcPts val="300"/>
                  </a:spcAft>
                </a:pPr>
                <a:r>
                  <a:rPr lang="en-US" sz="1200" noProof="1"/>
                  <a:t>	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sz="1200" i="1" noProof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p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𝑐</m:t>
                        </m:r>
                      </m:sup>
                    </m:sSup>
                    <m:d>
                      <m:dPr>
                        <m:ctrlPr>
                          <a:rPr lang="it-IT" sz="1200" i="1" noProof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𝑣</m:t>
                        </m:r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</m:d>
                    <m:r>
                      <a:rPr lang="it-IT" sz="1200" i="1" noProof="1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sz="1200" b="1" i="1" noProof="1">
                        <a:latin typeface="Cambria Math" panose="02040503050406030204" pitchFamily="18" charset="0"/>
                      </a:rPr>
                      <m:t>𝐧𝐮𝐦𝐛𝐞𝐫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of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b="1" i="1" noProof="1">
                        <a:latin typeface="Cambria Math" panose="02040503050406030204" pitchFamily="18" charset="0"/>
                      </a:rPr>
                      <m:t>𝐬𝐡𝐢𝐩𝐦𝐞𝐧𝐭𝐬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from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𝑣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to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𝑢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it-IT" sz="1200" i="1" noProof="1">
                  <a:latin typeface="Cambria Math" panose="02040503050406030204" pitchFamily="18" charset="0"/>
                </a:endParaRPr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</a:rPr>
                        <m:t>executed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</a:rPr>
                        <m:t>by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200" b="1" i="0" noProof="1">
                          <a:latin typeface="Cambria Math" panose="02040503050406030204" pitchFamily="18" charset="0"/>
                        </a:rPr>
                        <m:t>𝐜𝐚𝐫𝐫𝐢𝐞𝐫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en-US" sz="1200" i="1" noProof="1"/>
              </a:p>
              <a:p>
                <a:pPr>
                  <a:spcAft>
                    <a:spcPts val="300"/>
                  </a:spcAft>
                </a:pPr>
                <a:endParaRPr lang="en-US" sz="1200" dirty="0"/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3B3AD733-533C-9429-BF93-9BB95B79A5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823" y="1639718"/>
                <a:ext cx="2898322" cy="1723549"/>
              </a:xfrm>
              <a:prstGeom prst="rect">
                <a:avLst/>
              </a:prstGeom>
              <a:blipFill>
                <a:blip r:embed="rId16"/>
                <a:stretch>
                  <a:fillRect t="-3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7B71BE3A-818B-D338-3DAB-3353DD04301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641521" y="958735"/>
            <a:ext cx="3140926" cy="504062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Carrier-Conditioned Dynamic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Google Shape;703;p114">
                <a:extLst>
                  <a:ext uri="{FF2B5EF4-FFF2-40B4-BE49-F238E27FC236}">
                    <a16:creationId xmlns:a16="http://schemas.microsoft.com/office/drawing/2014/main" id="{139098A1-42DC-B278-CCAD-4260C9FE7A2F}"/>
                  </a:ext>
                </a:extLst>
              </p:cNvPr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2824785" y="1639720"/>
                <a:ext cx="2735094" cy="17235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3429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200" b="1" noProof="1"/>
                  <a:t>Markov Property </a:t>
                </a:r>
                <a:r>
                  <a:rPr lang="en-US" sz="1200" noProof="1"/>
                  <a:t>used to compute path probabilities:</a:t>
                </a:r>
              </a:p>
              <a:p>
                <a:pPr>
                  <a:spcAft>
                    <a:spcPts val="300"/>
                  </a:spcAft>
                </a:pPr>
                <a:endParaRPr lang="en-US" sz="1200" dirty="0"/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) ⋅</m:t>
                      </m:r>
                      <m:nary>
                        <m:naryPr>
                          <m:chr m:val="∏"/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</m:sSub>
                        </m:e>
                      </m:nary>
                    </m:oMath>
                  </m:oMathPara>
                </a14:m>
                <a:endParaRPr lang="en-US" sz="1200" noProof="1"/>
              </a:p>
            </p:txBody>
          </p:sp>
        </mc:Choice>
        <mc:Fallback xmlns="">
          <p:sp>
            <p:nvSpPr>
              <p:cNvPr id="14" name="Google Shape;703;p114">
                <a:extLst>
                  <a:ext uri="{FF2B5EF4-FFF2-40B4-BE49-F238E27FC236}">
                    <a16:creationId xmlns:a16="http://schemas.microsoft.com/office/drawing/2014/main" id="{139098A1-42DC-B278-CCAD-4260C9FE7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7"/>
                </p:custDataLst>
              </p:nvPr>
            </p:nvSpPr>
            <p:spPr>
              <a:xfrm>
                <a:off x="2824785" y="1639720"/>
                <a:ext cx="2735094" cy="1723547"/>
              </a:xfrm>
              <a:prstGeom prst="rect">
                <a:avLst/>
              </a:prstGeom>
              <a:blipFill>
                <a:blip r:embed="rId18"/>
                <a:stretch>
                  <a:fillRect l="-89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4400691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D57C67-3564-8DAF-AD12-2C9FB798D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46862-10BA-B325-35F9-A3A6BD9E0F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46862-10BA-B325-35F9-A3A6BD9E0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BBDECDC-BDF4-80F0-DC2E-D46780DD079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Paths Extraction and Probability Distribution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0A5BD79-5368-6F78-A881-93DB972B104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  <a:endParaRPr lang="en-US" sz="900" cap="all" noProof="1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7707F636-224E-59C8-D955-5BFD13D43C27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342899" y="1661071"/>
                <a:ext cx="3826825" cy="1915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/>
                  <a:t>Modified </a:t>
                </a:r>
                <a:r>
                  <a:rPr lang="en-US" sz="1200" b="1" noProof="1"/>
                  <a:t>Depth-First Search (</a:t>
                </a:r>
                <a:r>
                  <a:rPr lang="en-US" sz="1200" b="1" i="1" noProof="1"/>
                  <a:t>DFS</a:t>
                </a:r>
                <a:r>
                  <a:rPr lang="en-US" sz="1200" b="1" noProof="1"/>
                  <a:t>) </a:t>
                </a:r>
                <a:r>
                  <a:rPr lang="en-US" sz="1200" noProof="1"/>
                  <a:t>collects all shipment paths from a vertex 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𝑣</m:t>
                    </m:r>
                  </m:oMath>
                </a14:m>
                <a:r>
                  <a:rPr lang="en-US" sz="1200" noProof="1"/>
                  <a:t> to the manufacturer 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en-US" sz="1200" noProof="1"/>
                  <a:t>.</a:t>
                </a:r>
              </a:p>
              <a:p>
                <a:pPr>
                  <a:spcAft>
                    <a:spcPts val="600"/>
                  </a:spcAft>
                  <a:buClrTx/>
                </a:pPr>
                <a:endParaRPr lang="en-US" sz="1200" noProof="1"/>
              </a:p>
              <a:p>
                <a:pPr>
                  <a:spcAft>
                    <a:spcPts val="600"/>
                  </a:spcAft>
                  <a:buClrTx/>
                </a:pPr>
                <a:r>
                  <a:rPr lang="en-US" sz="1200" dirty="0"/>
                  <a:t>Dataset shows only a limited number of paths per vertex: </a:t>
                </a:r>
                <a:r>
                  <a:rPr lang="en-US" sz="1200" b="1" dirty="0"/>
                  <a:t>average 4 paths per vertex, maximum 24</a:t>
                </a:r>
                <a:r>
                  <a:rPr lang="en-US" sz="1200" dirty="0"/>
                  <a:t>.</a:t>
                </a:r>
                <a:endParaRPr lang="en-US" sz="1200" noProof="1"/>
              </a:p>
            </p:txBody>
          </p:sp>
        </mc:Choice>
        <mc:Fallback xmlns=""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7707F636-224E-59C8-D955-5BFD13D43C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342899" y="1661071"/>
                <a:ext cx="3826825" cy="1915867"/>
              </a:xfrm>
              <a:prstGeom prst="rect">
                <a:avLst/>
              </a:prstGeom>
              <a:blipFill>
                <a:blip r:embed="rId15"/>
                <a:stretch>
                  <a:fillRect l="-63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6A9C5CA5-9CB7-0D8F-5224-E9E36B6EC1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1278527"/>
            <a:ext cx="4183380" cy="288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chemeClr val="accent3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Google Shape;703;p114">
                <a:extLst>
                  <a:ext uri="{FF2B5EF4-FFF2-40B4-BE49-F238E27FC236}">
                    <a16:creationId xmlns:a16="http://schemas.microsoft.com/office/drawing/2014/main" id="{18D8ED4D-BC2B-476C-80DE-DB9DC9F2EB90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4570809" y="1661070"/>
                <a:ext cx="3906441" cy="1915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Given the collection of all the </a:t>
                </a:r>
                <a:r>
                  <a:rPr lang="en-US" sz="1200" b="1" noProof="1"/>
                  <a:t>maximal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paths</a:t>
                </a:r>
                <a:r>
                  <a:rPr lang="en-US" sz="1200" noProof="1"/>
                  <a:t> for a vertex 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𝑣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 ∈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𝑉</m:t>
                    </m:r>
                  </m:oMath>
                </a14:m>
                <a:r>
                  <a:rPr lang="en-US" sz="1200" noProof="1"/>
                  <a:t>:</a:t>
                </a:r>
              </a:p>
              <a:p>
                <a:pPr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</a:rPr>
                        <m:t>Π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{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ℓ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en-US" sz="1200" noProof="1"/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The associated </a:t>
                </a:r>
                <a:r>
                  <a:rPr lang="en-US" sz="1200" b="1" noProof="1"/>
                  <a:t>paths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probabilities</a:t>
                </a:r>
                <a:r>
                  <a:rPr lang="en-US" sz="1200" noProof="1"/>
                  <a:t> conditioned by carri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1" noProof="1" smtClean="0">
                        <a:latin typeface="Cambria Math" panose="02040503050406030204" pitchFamily="18" charset="0"/>
                      </a:rPr>
                      <m:t>c</m:t>
                    </m:r>
                  </m:oMath>
                </a14:m>
                <a:r>
                  <a:rPr lang="en-US" sz="1200" noProof="1"/>
                  <a:t>:</a:t>
                </a:r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1200" b="1" i="1" noProof="1" smtClean="0">
                              <a:latin typeface="Cambria Math" panose="02040503050406030204" pitchFamily="18" charset="0"/>
                            </a:rPr>
                            <m:t>𝒑</m:t>
                          </m:r>
                        </m:e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sup>
                      </m:sSup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,…,</m:t>
                          </m:r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ℓ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en-US" sz="1200" noProof="1"/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Form a valid </a:t>
                </a:r>
                <a:r>
                  <a:rPr lang="en-US" sz="1200" b="1" noProof="1"/>
                  <a:t>probability distribution.</a:t>
                </a:r>
                <a:endParaRPr lang="en-US" sz="1200" noProof="1"/>
              </a:p>
            </p:txBody>
          </p:sp>
        </mc:Choice>
        <mc:Fallback xmlns="">
          <p:sp>
            <p:nvSpPr>
              <p:cNvPr id="21" name="Google Shape;703;p114">
                <a:extLst>
                  <a:ext uri="{FF2B5EF4-FFF2-40B4-BE49-F238E27FC236}">
                    <a16:creationId xmlns:a16="http://schemas.microsoft.com/office/drawing/2014/main" id="{18D8ED4D-BC2B-476C-80DE-DB9DC9F2EB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4570809" y="1661070"/>
                <a:ext cx="3906441" cy="1915867"/>
              </a:xfrm>
              <a:prstGeom prst="rect">
                <a:avLst/>
              </a:prstGeom>
              <a:blipFill>
                <a:blip r:embed="rId17"/>
                <a:stretch>
                  <a:fillRect l="-624" r="-31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033098A4-7467-3F7B-F551-58656BA2D05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1079212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aths Extraction Methodology</a:t>
            </a:r>
          </a:p>
        </p:txBody>
      </p:sp>
      <p:sp>
        <p:nvSpPr>
          <p:cNvPr id="5" name="Google Shape;10527;p9415">
            <a:extLst>
              <a:ext uri="{FF2B5EF4-FFF2-40B4-BE49-F238E27FC236}">
                <a16:creationId xmlns:a16="http://schemas.microsoft.com/office/drawing/2014/main" id="{80A80993-C2BE-707C-242B-4ADEFA62059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570809" y="1079212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robability Distribution Comput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299546-006F-2DA1-94F6-8883AE60A43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16309" y="3776253"/>
            <a:ext cx="8509000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For each vertex, </a:t>
            </a:r>
            <a:r>
              <a:rPr lang="en-US" sz="1400" b="1" dirty="0">
                <a:solidFill>
                  <a:srgbClr val="125E4B"/>
                </a:solidFill>
              </a:rPr>
              <a:t>carrier behavior </a:t>
            </a:r>
            <a:r>
              <a:rPr lang="en-US" sz="1400" dirty="0">
                <a:solidFill>
                  <a:srgbClr val="125E4B"/>
                </a:solidFill>
              </a:rPr>
              <a:t>is modeled by considering </a:t>
            </a:r>
            <a:r>
              <a:rPr lang="en-US" sz="1400" b="1" dirty="0">
                <a:solidFill>
                  <a:srgbClr val="125E4B"/>
                </a:solidFill>
              </a:rPr>
              <a:t>all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possibl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paths</a:t>
            </a:r>
            <a:r>
              <a:rPr lang="en-US" sz="1400" dirty="0">
                <a:solidFill>
                  <a:srgbClr val="125E4B"/>
                </a:solidFill>
              </a:rPr>
              <a:t> to the manufacturer, along with the </a:t>
            </a:r>
            <a:r>
              <a:rPr lang="en-US" sz="1400" b="1" dirty="0">
                <a:solidFill>
                  <a:srgbClr val="125E4B"/>
                </a:solidFill>
              </a:rPr>
              <a:t>probability</a:t>
            </a:r>
            <a:r>
              <a:rPr lang="en-US" sz="1400" dirty="0">
                <a:solidFill>
                  <a:srgbClr val="125E4B"/>
                </a:solidFill>
              </a:rPr>
              <a:t> that each path is followed.</a:t>
            </a:r>
            <a:endParaRPr lang="en-US" sz="1400" noProof="1">
              <a:solidFill>
                <a:srgbClr val="125E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40230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5AAC7C5-AD0A-73A5-C1E2-F268E3F8C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1CDE5036-466F-B9AA-E630-EED45498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26F21E-1240-F30A-5E2D-FA1835D82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8EC238-DF11-FD2C-6E22-C7262A49B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2E66F3-838B-C523-8CC6-1D7DC743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772FBE8-14CF-003B-64C2-36F16E99C8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91E814-CAAB-4A89-8827-4213CF634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Historical Indicators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5AA9C6-C7E1-3D43-9C1B-255D8DEB81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A8BA2C-8159-5487-7DC5-5646D1DAE3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816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32596-1BD2-1A73-EAB4-CE549E2A3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02CAB30-816E-F7F2-CDC8-A7060DDDB0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2CAB30-816E-F7F2-CDC8-A7060DDD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CBE8AD-AD7D-A8AF-5925-1C1ADE05AE4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393312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Defini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594BDEA6-757A-9F94-ABA6-69F5D718406B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285875"/>
                <a:ext cx="5298619" cy="1375681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Dispatch time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: a probability distribution for each supplier.</a:t>
                </a:r>
              </a:p>
              <a:p>
                <a:pPr marL="261938" indent="-175022">
                  <a:lnSpc>
                    <a:spcPct val="10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 →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𝒟</m:t>
                      </m:r>
                      <m:d>
                        <m:dPr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lnSpc>
                    <a:spcPct val="100000"/>
                  </a:lnSpc>
                  <a:spcAft>
                    <a:spcPts val="600"/>
                  </a:spcAft>
                </a:pPr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86916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Shipment time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: a probability distribution for each supplier–carrier pair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: </m:t>
                      </m:r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 ×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C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 →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𝒟</m:t>
                      </m:r>
                      <m:d>
                        <m:d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ℝ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594BDEA6-757A-9F94-ABA6-69F5D71840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342900" y="1285875"/>
                <a:ext cx="5298619" cy="1375681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0BB486-7D1E-DCB6-E765-F3022AD20C2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62CD5BF-5AA1-1CB0-1340-859912AA13B7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400" noProof="1">
              <a:solidFill>
                <a:schemeClr val="accent3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Historical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indicators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are stastistical measures that characterize key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operational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times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in the order fulfillment process, based exclusively on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historical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data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0000"/>
              </a:lnSpc>
            </a:pPr>
            <a:endParaRPr lang="en-US" sz="1400" noProof="1">
              <a:solidFill>
                <a:schemeClr val="accent3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Google Shape;703;p114">
                <a:extLst>
                  <a:ext uri="{FF2B5EF4-FFF2-40B4-BE49-F238E27FC236}">
                    <a16:creationId xmlns:a16="http://schemas.microsoft.com/office/drawing/2014/main" id="{BC560D40-91EB-9882-C2E4-FD172E49DFB6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342899" y="3077876"/>
                <a:ext cx="5298620" cy="179014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:r>
                  <a:rPr lang="it-IT" sz="1200" b="1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Pointwise</a:t>
                </a:r>
                <a:r>
                  <a:rPr lang="it-IT" sz="1200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: expected value of the distribution.</a:t>
                </a:r>
              </a:p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</m:sub>
                      </m:sSub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𝔼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T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],  ∀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∈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</m:oMath>
                  </m:oMathPara>
                </a14:m>
                <a:endParaRPr lang="it-IT" sz="1200" noProof="1">
                  <a:solidFill>
                    <a:srgbClr val="125E4B"/>
                  </a:solidFill>
                  <a:ea typeface="Cambria Math" panose="02040503050406030204" pitchFamily="18" charset="0"/>
                </a:endParaRPr>
              </a:p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:endParaRPr lang="it-IT" sz="1200" noProof="1">
                  <a:solidFill>
                    <a:srgbClr val="125E4B"/>
                  </a:solidFill>
                  <a:ea typeface="Cambria Math" panose="02040503050406030204" pitchFamily="18" charset="0"/>
                </a:endParaRPr>
              </a:p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:r>
                  <a:rPr lang="it-IT" sz="1200" b="1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Interval-based:</a:t>
                </a:r>
                <a:r>
                  <a:rPr lang="it-IT" sz="1200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 </a:t>
                </a:r>
                <a:r>
                  <a:rPr lang="el-GR" sz="1200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β</a:t>
                </a:r>
                <a:r>
                  <a:rPr lang="it-IT" sz="1200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-level confidence interval of the distribution.</a:t>
                </a:r>
              </a:p>
              <a:p>
                <a:pPr marL="8691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0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0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d>
                        <m:d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8691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≤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≤</m:t>
                          </m:r>
                          <m:sSub>
                            <m:sSubPr>
                              <m:ctrlPr>
                                <a:rPr lang="it-IT" sz="120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 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𝑋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∼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𝑇</m:t>
                      </m:r>
                      <m:d>
                        <m:dPr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12" name="Google Shape;703;p114">
                <a:extLst>
                  <a:ext uri="{FF2B5EF4-FFF2-40B4-BE49-F238E27FC236}">
                    <a16:creationId xmlns:a16="http://schemas.microsoft.com/office/drawing/2014/main" id="{BC560D40-91EB-9882-C2E4-FD172E49DF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342899" y="3077876"/>
                <a:ext cx="5298620" cy="1790148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Google Shape;10527;p9415">
            <a:extLst>
              <a:ext uri="{FF2B5EF4-FFF2-40B4-BE49-F238E27FC236}">
                <a16:creationId xmlns:a16="http://schemas.microsoft.com/office/drawing/2014/main" id="{81D52D0B-6F04-4A96-3458-05657D77685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985595"/>
            <a:ext cx="5298620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ime Probability Distributions</a:t>
            </a:r>
          </a:p>
        </p:txBody>
      </p:sp>
      <p:sp>
        <p:nvSpPr>
          <p:cNvPr id="5" name="Google Shape;10527;p9415">
            <a:extLst>
              <a:ext uri="{FF2B5EF4-FFF2-40B4-BE49-F238E27FC236}">
                <a16:creationId xmlns:a16="http://schemas.microsoft.com/office/drawing/2014/main" id="{460C3337-6F77-C401-C7A6-62378EC1D10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42899" y="2777595"/>
            <a:ext cx="5298620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Statistical Metric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56998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F93AA0-38A0-70CC-D1AF-1A97C0F3BC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C599331-C01F-DBB0-C92D-E2B90B93BB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99331-C01F-DBB0-C92D-E2B90B93B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A6CF387-DC16-1CF2-5ADF-D898271AFB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Implementation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71C4AEE-3D21-E7E7-8CC7-86E86AD2CA3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19" name="Google Shape;703;p114">
            <a:extLst>
              <a:ext uri="{FF2B5EF4-FFF2-40B4-BE49-F238E27FC236}">
                <a16:creationId xmlns:a16="http://schemas.microsoft.com/office/drawing/2014/main" id="{FEF75950-A634-3B8C-6DA8-61B651DBB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1501904"/>
            <a:ext cx="3886199" cy="848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Gamma distributions</a:t>
            </a:r>
            <a:r>
              <a:rPr lang="en-US" sz="1200" dirty="0"/>
              <a:t> chosen for their established use in supply-chain literature.</a:t>
            </a:r>
            <a:endParaRPr lang="en-US" sz="1200" noProof="1"/>
          </a:p>
          <a:p>
            <a:pPr>
              <a:spcAft>
                <a:spcPts val="600"/>
              </a:spcAft>
              <a:buClrTx/>
            </a:pPr>
            <a:r>
              <a:rPr lang="en-US" sz="1200" b="1" dirty="0"/>
              <a:t>Parameter estimation </a:t>
            </a:r>
            <a:r>
              <a:rPr lang="en-US" sz="1200" dirty="0"/>
              <a:t>via </a:t>
            </a:r>
            <a:r>
              <a:rPr lang="en-US" sz="1200" b="1" dirty="0"/>
              <a:t>Maximum Likelihood Estimation</a:t>
            </a:r>
            <a:r>
              <a:rPr lang="en-US" sz="1200" dirty="0"/>
              <a:t>.</a:t>
            </a:r>
          </a:p>
        </p:txBody>
      </p:sp>
      <p:sp>
        <p:nvSpPr>
          <p:cNvPr id="21" name="Google Shape;703;p114">
            <a:extLst>
              <a:ext uri="{FF2B5EF4-FFF2-40B4-BE49-F238E27FC236}">
                <a16:creationId xmlns:a16="http://schemas.microsoft.com/office/drawing/2014/main" id="{BC1E4DCA-D5CD-451D-B8BB-A6F5B74B941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837346" y="1501904"/>
            <a:ext cx="3886199" cy="1068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Outlier removal:</a:t>
            </a:r>
            <a:r>
              <a:rPr lang="en-US" sz="1200" dirty="0"/>
              <a:t> Interquartile Range (IQR) method.</a:t>
            </a:r>
            <a:r>
              <a:rPr lang="en-US" sz="1200" noProof="1"/>
              <a:t>
</a:t>
            </a:r>
            <a:r>
              <a:rPr lang="en-US" sz="1200" b="1" dirty="0"/>
              <a:t>Goodness-of-fit checks:</a:t>
            </a:r>
            <a:r>
              <a:rPr lang="en-US" sz="1200" dirty="0"/>
              <a:t> Q–Q plots and histograms.</a:t>
            </a:r>
            <a:r>
              <a:rPr lang="en-US" sz="1200" noProof="1"/>
              <a:t>
</a:t>
            </a:r>
            <a:r>
              <a:rPr lang="en-US" sz="1200" b="1" dirty="0"/>
              <a:t>Statistical validation:</a:t>
            </a:r>
            <a:r>
              <a:rPr lang="en-US" sz="1200" dirty="0"/>
              <a:t> Kolmogorov–Smirnov tests show no evidence against the Gamma assumption.</a:t>
            </a:r>
          </a:p>
          <a:p>
            <a:pPr>
              <a:spcAft>
                <a:spcPts val="600"/>
              </a:spcAft>
              <a:buClrTx/>
            </a:pPr>
            <a:endParaRPr lang="en-US" sz="1200" noProof="1"/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C35F7356-7D6A-5003-265D-A8669E39040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heoretical Distribution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1EDCE899-1272-FC4C-F46D-5E0CC8B6316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837346" y="1001016"/>
            <a:ext cx="388620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Fitting Proced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60F135-5972-EFA8-9BE2-10616243A8A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2898" y="2571749"/>
            <a:ext cx="3963758" cy="19850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8F12FB5-B31B-A510-EB03-4AF10BAF1734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4609435" y="2825140"/>
            <a:ext cx="4114109" cy="173162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7462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A25727A-9A18-8DC1-0E1B-363E6CD83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55EBE351-F469-37C1-EC78-05F7E23C3A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3FAD3-3D27-5CAD-6C15-C7284CF2D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3F1D2D-2FCE-8D65-49CE-7B7C3CF36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BC64A7-7F09-1620-DCC1-575FBF8B30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6143B65-BB67-64BE-B7D9-FC148356F7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7F121C-D9B2-A775-D5C0-7FB3C608B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Realtime Indicators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0BF33E-300D-9E49-9D3B-2D8AD9A13D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71C8B9-AFCB-5369-9D88-F1991B406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2999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5E4E04-938E-AFC5-7E43-D18639A4E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B6476CD-DBFC-4915-5F6D-A1E906D4E7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6476CD-DBFC-4915-5F6D-A1E906D4E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4013419-C069-D20B-EE9E-88BFDA78072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Overview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FAB9745F-3166-3830-1DB1-E4B35E2CD48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86C34C7-B53B-C6A3-398D-77B115ED7E32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, </a:t>
            </a:r>
            <a:r>
              <a:rPr lang="en-US" sz="1400" dirty="0">
                <a:solidFill>
                  <a:srgbClr val="125E4B"/>
                </a:solidFill>
              </a:rPr>
              <a:t>combining:</a:t>
            </a:r>
            <a:r>
              <a:rPr lang="en-US" sz="1400" b="1" dirty="0">
                <a:solidFill>
                  <a:srgbClr val="125E4B"/>
                </a:solidFill>
              </a:rPr>
              <a:t> </a:t>
            </a:r>
            <a:endParaRPr lang="en-US" sz="1400" dirty="0">
              <a:solidFill>
                <a:srgbClr val="125E4B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</p:txBody>
      </p:sp>
      <p:sp>
        <p:nvSpPr>
          <p:cNvPr id="18" name="Google Shape;10527;p9415">
            <a:extLst>
              <a:ext uri="{FF2B5EF4-FFF2-40B4-BE49-F238E27FC236}">
                <a16:creationId xmlns:a16="http://schemas.microsoft.com/office/drawing/2014/main" id="{661A168F-2573-A9DF-9D09-21833ACCD59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Realtime Indicators Hierarch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85360A1-CC52-9DBA-484F-4F1FE0FF9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610124"/>
              </p:ext>
            </p:extLst>
          </p:nvPr>
        </p:nvGraphicFramePr>
        <p:xfrm>
          <a:off x="342898" y="1745933"/>
          <a:ext cx="5298622" cy="185420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649311">
                  <a:extLst>
                    <a:ext uri="{9D8B030D-6E8A-4147-A177-3AD203B41FA5}">
                      <a16:colId xmlns:a16="http://schemas.microsoft.com/office/drawing/2014/main" val="2084918660"/>
                    </a:ext>
                  </a:extLst>
                </a:gridCol>
                <a:gridCol w="2649311">
                  <a:extLst>
                    <a:ext uri="{9D8B030D-6E8A-4147-A177-3AD203B41FA5}">
                      <a16:colId xmlns:a16="http://schemas.microsoft.com/office/drawing/2014/main" val="8259880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latin typeface="+mn-lt"/>
                        </a:rPr>
                        <a:t>Granularity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b="1" dirty="0">
                          <a:latin typeface="+mn-lt"/>
                        </a:rPr>
                        <a:t>Scope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7426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Vertex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Supplier and carrier facility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568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Rout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Carrier </a:t>
                      </a:r>
                      <a:r>
                        <a:rPr lang="it-IT" sz="1200" dirty="0" err="1">
                          <a:latin typeface="+mn-lt"/>
                        </a:rPr>
                        <a:t>route</a:t>
                      </a:r>
                      <a:r>
                        <a:rPr lang="it-IT" sz="1200" dirty="0">
                          <a:latin typeface="+mn-lt"/>
                        </a:rPr>
                        <a:t> </a:t>
                      </a:r>
                      <a:r>
                        <a:rPr lang="it-IT" sz="1200" dirty="0" err="1">
                          <a:latin typeface="+mn-lt"/>
                        </a:rPr>
                        <a:t>between</a:t>
                      </a:r>
                      <a:r>
                        <a:rPr lang="it-IT" sz="1200" dirty="0">
                          <a:latin typeface="+mn-lt"/>
                        </a:rPr>
                        <a:t> </a:t>
                      </a:r>
                      <a:r>
                        <a:rPr lang="it-IT" sz="1200" dirty="0" err="1">
                          <a:latin typeface="+mn-lt"/>
                        </a:rPr>
                        <a:t>two</a:t>
                      </a:r>
                      <a:r>
                        <a:rPr lang="it-IT" sz="1200" dirty="0">
                          <a:latin typeface="+mn-lt"/>
                        </a:rPr>
                        <a:t> locations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679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Path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Supplier to </a:t>
                      </a:r>
                      <a:r>
                        <a:rPr lang="it-IT" sz="1200" dirty="0" err="1">
                          <a:latin typeface="+mn-lt"/>
                        </a:rPr>
                        <a:t>manufacturer</a:t>
                      </a:r>
                      <a:r>
                        <a:rPr lang="it-IT" sz="1200" dirty="0">
                          <a:latin typeface="+mn-lt"/>
                        </a:rPr>
                        <a:t> carrier </a:t>
                      </a:r>
                      <a:r>
                        <a:rPr lang="it-IT" sz="1200" dirty="0" err="1">
                          <a:latin typeface="+mn-lt"/>
                        </a:rPr>
                        <a:t>path</a:t>
                      </a:r>
                      <a:r>
                        <a:rPr lang="it-IT" sz="1200" dirty="0">
                          <a:latin typeface="+mn-lt"/>
                        </a:rPr>
                        <a:t>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7199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Graph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Overall supply chain network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51437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56707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7ECB2-C1B0-9D52-6557-45D02479C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E14B35-BB4E-0566-E12B-0C9F38AE64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99331-C01F-DBB0-C92D-E2B90B93B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D012EBF-E361-93F4-4D60-3E5AF00F14B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Definition (1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E170BDF-B69B-AB45-17E1-CEA2B824181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6AB0B340-8323-EFCB-D7FB-04F08A540FB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9" y="994664"/>
            <a:ext cx="3959680" cy="291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Vertex Level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391AAEC1-DDEC-9F40-A422-8DBCE970E94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780195" y="997840"/>
            <a:ext cx="4018524" cy="291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Route Level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Google Shape;703;p114">
                <a:extLst>
                  <a:ext uri="{FF2B5EF4-FFF2-40B4-BE49-F238E27FC236}">
                    <a16:creationId xmlns:a16="http://schemas.microsoft.com/office/drawing/2014/main" id="{EA107ACE-DD8A-7B0E-629E-85EF715F7277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342899" y="1289052"/>
                <a:ext cx="3959680" cy="322697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rgbClr val="9FBCB4"/>
                </a:solidFill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Estimated Dispatch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ED</m:t>
                    </m:r>
                    <m:sSub>
                      <m:sSubPr>
                        <m:ctrlPr>
                          <a:rPr lang="en-US" sz="120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𝜇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             Scalar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DT</m:t>
                    </m:r>
                  </m:oMath>
                </a14:m>
                <a:r>
                  <a:rPr lang="en-US" sz="1200" b="1" noProof="1">
                    <a:solidFill>
                      <a:srgbClr val="125E4B"/>
                    </a:solidFill>
                  </a:rPr>
                  <a:t> historical indicator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Includes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national holiday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to estimate the dispatch time of a supplier site.</a:t>
                </a:r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Vertex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V</m:t>
                    </m:r>
                    <m:sSub>
                      <m:sSubPr>
                        <m:ctrlPr>
                          <a:rPr lang="en-US" sz="120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			              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the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historical processing time distribu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of a carrier facility.</a:t>
                </a:r>
              </a:p>
              <a:p>
                <a:pPr marL="258366" indent="-1714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Provides a </a:t>
                </a:r>
                <a:r>
                  <a:rPr lang="el-GR" sz="1200" b="1" noProof="1">
                    <a:solidFill>
                      <a:srgbClr val="125E4B"/>
                    </a:solidFill>
                  </a:rPr>
                  <a:t>β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-level confidence interval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f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the facility processing time.</a:t>
                </a:r>
                <a:endParaRPr lang="en-US" sz="1200" b="0" i="1" noProof="1">
                  <a:solidFill>
                    <a:srgbClr val="125E4B"/>
                  </a:solidFill>
                  <a:latin typeface="Cambria Math" panose="02040503050406030204" pitchFamily="18" charset="0"/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9" name="Google Shape;703;p114">
                <a:extLst>
                  <a:ext uri="{FF2B5EF4-FFF2-40B4-BE49-F238E27FC236}">
                    <a16:creationId xmlns:a16="http://schemas.microsoft.com/office/drawing/2014/main" id="{EA107ACE-DD8A-7B0E-629E-85EF715F72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342899" y="1289052"/>
                <a:ext cx="3959680" cy="3226970"/>
              </a:xfrm>
              <a:prstGeom prst="rect">
                <a:avLst/>
              </a:prstGeom>
              <a:blipFill>
                <a:blip r:embed="rId12"/>
                <a:stretch>
                  <a:fillRect r="-920"/>
                </a:stretch>
              </a:blipFill>
              <a:ln>
                <a:solidFill>
                  <a:srgbClr val="9FBCB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Google Shape;703;p114">
                <a:extLst>
                  <a:ext uri="{FF2B5EF4-FFF2-40B4-BE49-F238E27FC236}">
                    <a16:creationId xmlns:a16="http://schemas.microsoft.com/office/drawing/2014/main" id="{FC88DA11-955B-F5BB-692C-77EBCD512450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4780195" y="1281793"/>
                <a:ext cx="4018524" cy="3234229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Traffic &amp; Weather Meta Index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TMI</m:t>
                    </m:r>
                    <m: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WMI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	                  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Scalar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real-time data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retrieved from external services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Provide a measurement of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traffic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and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 weather impact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n carrier routes.</a:t>
                </a: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Route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R</m:t>
                    </m:r>
                    <m:sSub>
                      <m:sSubPr>
                        <m:ctrlPr>
                          <a:rPr lang="en-US" sz="120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		                   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the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historical travel time distribu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of carrier routes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Provides a </a:t>
                </a:r>
                <a:r>
                  <a:rPr lang="el-GR" sz="1200" b="1" noProof="1">
                    <a:solidFill>
                      <a:srgbClr val="125E4B"/>
                    </a:solidFill>
                  </a:rPr>
                  <a:t>β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-level confidence interval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f the route travel time.</a:t>
                </a:r>
              </a:p>
            </p:txBody>
          </p:sp>
        </mc:Choice>
        <mc:Fallback>
          <p:sp>
            <p:nvSpPr>
              <p:cNvPr id="10" name="Google Shape;703;p114">
                <a:extLst>
                  <a:ext uri="{FF2B5EF4-FFF2-40B4-BE49-F238E27FC236}">
                    <a16:creationId xmlns:a16="http://schemas.microsoft.com/office/drawing/2014/main" id="{FC88DA11-955B-F5BB-692C-77EBCD5124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4780195" y="1281793"/>
                <a:ext cx="4018524" cy="323422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488410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3F3215-73A4-9591-650D-69AAB39A4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295828-B379-AAA8-44FE-DEB08952C6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14B35-BB4E-0566-E12B-0C9F38AE6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8050DB-BE12-341D-71E4-F4DA6346FE6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Definition (2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9FD3A9C-DC8F-5F8B-13F7-28C9EE5B7E4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7F550873-C004-A305-7FF3-C402252DF9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994664"/>
            <a:ext cx="3961373" cy="291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ath Level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19BB1103-4CCC-D7E8-2225-3FC156AD50F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780195" y="997840"/>
            <a:ext cx="4018524" cy="291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Graph Level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Google Shape;703;p114">
                <a:extLst>
                  <a:ext uri="{FF2B5EF4-FFF2-40B4-BE49-F238E27FC236}">
                    <a16:creationId xmlns:a16="http://schemas.microsoft.com/office/drawing/2014/main" id="{7DE75F62-39CE-3414-3420-99A1EA8125CC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4780195" y="1281793"/>
                <a:ext cx="4018524" cy="3234229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rgbClr val="9FBCB4"/>
                </a:solidFill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Expected Path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b="1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1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E</m:t>
                        </m:r>
                        <m:r>
                          <a:rPr lang="en-US" sz="1200" b="1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US" sz="1200" b="1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PT</m:t>
                        </m:r>
                      </m:e>
                      <m:sub>
                        <m: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</a:t>
                </a:r>
                <a14:m>
                  <m:oMath xmlns:m="http://schemas.openxmlformats.org/officeDocument/2006/math">
                    <m:r>
                      <a:rPr lang="en-US" sz="1200" i="1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: 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		                Interval     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Combines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PT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β</m:t>
                        </m:r>
                      </m:sub>
                    </m:sSub>
                  </m:oMath>
                </a14:m>
                <a:r>
                  <a:rPr lang="en-US" sz="1200" b="1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estimations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ver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all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the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possible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path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from a vertex to the manufacturer according to their likelihood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PT</m:t>
                          </m:r>
                        </m:e>
                        <m:sub>
                          <m: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  <m:brk m:alnAt="23"/>
                            </m:r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ℓ</m:t>
                          </m:r>
                        </m:sup>
                        <m:e>
                          <m:sSubSup>
                            <m:sSubSup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m:rPr>
                              <m:sty m:val="p"/>
                            </m:rPr>
                            <a:rPr lang="it-IT" sz="1200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P</m:t>
                          </m:r>
                          <m:sSub>
                            <m:sSubPr>
                              <m:ctrlP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</m:e>
                            <m:sub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</m:oMath>
                  </m:oMathPara>
                </a14:m>
                <a:endParaRPr lang="it-IT" sz="120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lnSpc>
                    <a:spcPct val="200000"/>
                  </a:lnSpc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Total Forecasted Shipment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i="1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FST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                Interval        </a:t>
                </a:r>
              </a:p>
              <a:p>
                <a:pPr marL="261938" indent="-175022">
                  <a:lnSpc>
                    <a:spcPct val="200000"/>
                  </a:lnSpc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Convex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combina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of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T</m:t>
                    </m:r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E</m:t>
                    </m:r>
                    <m:r>
                      <a:rPr lang="it-IT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n-US" sz="120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P</m:t>
                    </m:r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FST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T</m:t>
                          </m:r>
                        </m:e>
                        <m:sub>
                          <m:sSub>
                            <m:sSubPr>
                              <m:ctrlP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</m:sSub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(1−</m:t>
                      </m:r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 ⋅</m:t>
                      </m:r>
                      <m:sSub>
                        <m:sSubPr>
                          <m:ctrl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PT</m:t>
                          </m:r>
                        </m:e>
                        <m:sub>
                          <m:sSub>
                            <m:sSubPr>
                              <m:ctrlP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it-IT" sz="120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</p:txBody>
          </p:sp>
        </mc:Choice>
        <mc:Fallback>
          <p:sp>
            <p:nvSpPr>
              <p:cNvPr id="10" name="Google Shape;703;p114">
                <a:extLst>
                  <a:ext uri="{FF2B5EF4-FFF2-40B4-BE49-F238E27FC236}">
                    <a16:creationId xmlns:a16="http://schemas.microsoft.com/office/drawing/2014/main" id="{7DE75F62-39CE-3414-3420-99A1EA8125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4780195" y="1281793"/>
                <a:ext cx="4018524" cy="3234229"/>
              </a:xfrm>
              <a:prstGeom prst="rect">
                <a:avLst/>
              </a:prstGeom>
              <a:blipFill>
                <a:blip r:embed="rId12"/>
                <a:stretch>
                  <a:fillRect r="-3026"/>
                </a:stretch>
              </a:blipFill>
              <a:ln>
                <a:solidFill>
                  <a:srgbClr val="9FBCB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Google Shape;703;p114">
                <a:extLst>
                  <a:ext uri="{FF2B5EF4-FFF2-40B4-BE49-F238E27FC236}">
                    <a16:creationId xmlns:a16="http://schemas.microsoft.com/office/drawing/2014/main" id="{19340BDF-3D1E-735A-B58C-36A841CD06A7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342900" y="1289052"/>
                <a:ext cx="3961371" cy="322697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rgbClr val="9FBCB4"/>
                </a:solidFill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Path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P</m:t>
                    </m:r>
                    <m:sSub>
                      <m:sSubPr>
                        <m:ctrlPr>
                          <a:rPr lang="en-US" sz="1200" b="1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		              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V</m:t>
                    </m:r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R</m:t>
                    </m:r>
                    <m:sSub>
                      <m:sSubPr>
                        <m:ctrlPr>
                          <a:rPr lang="en-US" sz="120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realtime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indicator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rgbClr val="125E4B"/>
                    </a:solidFill>
                  </a:rPr>
                  <a:t>Aggregates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vertex</a:t>
                </a:r>
                <a:r>
                  <a:rPr lang="en-US" sz="1200" dirty="0">
                    <a:solidFill>
                      <a:srgbClr val="125E4B"/>
                    </a:solidFill>
                  </a:rPr>
                  <a:t> and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route</a:t>
                </a:r>
                <a:r>
                  <a:rPr lang="en-US" sz="1200" dirty="0">
                    <a:solidFill>
                      <a:srgbClr val="125E4B"/>
                    </a:solidFill>
                  </a:rPr>
                  <a:t>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time</a:t>
                </a:r>
                <a:r>
                  <a:rPr lang="en-US" sz="1200" dirty="0">
                    <a:solidFill>
                      <a:srgbClr val="125E4B"/>
                    </a:solidFill>
                  </a:rPr>
                  <a:t>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intervals</a:t>
                </a:r>
                <a:r>
                  <a:rPr lang="en-US" sz="1200" dirty="0">
                    <a:solidFill>
                      <a:srgbClr val="125E4B"/>
                    </a:solidFill>
                  </a:rPr>
                  <a:t> along a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path</a:t>
                </a:r>
                <a:r>
                  <a:rPr lang="en-US" sz="1200" dirty="0">
                    <a:solidFill>
                      <a:srgbClr val="125E4B"/>
                    </a:solidFill>
                  </a:rPr>
                  <a:t> to estimate the shipment’s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remaining</a:t>
                </a:r>
                <a:r>
                  <a:rPr lang="en-US" sz="1200" dirty="0">
                    <a:solidFill>
                      <a:srgbClr val="125E4B"/>
                    </a:solidFill>
                  </a:rPr>
                  <a:t>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duration</a:t>
                </a:r>
                <a:r>
                  <a:rPr lang="en-US" sz="1200" dirty="0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>
                  <a:solidFill>
                    <a:srgbClr val="125E4B"/>
                  </a:solidFill>
                </a:endParaRPr>
              </a:p>
              <a:p>
                <a:pPr marL="261938" indent="-175022">
                  <a:lnSpc>
                    <a:spcPct val="200000"/>
                  </a:lnSpc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Transit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T</m:t>
                    </m:r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		              Interval     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ST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historical indicator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Provides a </a:t>
                </a:r>
                <a:r>
                  <a:rPr lang="el-GR" sz="1200" noProof="1">
                    <a:solidFill>
                      <a:srgbClr val="125E4B"/>
                    </a:solidFill>
                  </a:rPr>
                  <a:t>β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-level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confidence interval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f the </a:t>
                </a:r>
                <a:r>
                  <a:rPr lang="en-US" sz="1200" dirty="0">
                    <a:solidFill>
                      <a:srgbClr val="125E4B"/>
                    </a:solidFill>
                  </a:rPr>
                  <a:t>shipment’s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remaining</a:t>
                </a:r>
                <a:r>
                  <a:rPr lang="en-US" sz="1200" dirty="0">
                    <a:solidFill>
                      <a:srgbClr val="125E4B"/>
                    </a:solidFill>
                  </a:rPr>
                  <a:t>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duration</a:t>
                </a:r>
                <a:r>
                  <a:rPr lang="en-US" sz="1200" dirty="0">
                    <a:solidFill>
                      <a:srgbClr val="125E4B"/>
                    </a:solidFill>
                  </a:rPr>
                  <a:t>.</a:t>
                </a:r>
                <a:endParaRPr lang="en-US" sz="1200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T</m:t>
                      </m:r>
                      <m:sSub>
                        <m:sSubPr>
                          <m:ctrlP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d>
                        <m:d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</m:d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it-IT" sz="1200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it-IT" sz="1200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S</m:t>
                              </m:r>
                              <m:sSub>
                                <m:sSubPr>
                                  <m:ctrlP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it-IT" sz="1200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T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𝛽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</m:d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0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en-US" sz="1200" dirty="0"/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/>
              </a:p>
            </p:txBody>
          </p:sp>
        </mc:Choice>
        <mc:Fallback>
          <p:sp>
            <p:nvSpPr>
              <p:cNvPr id="5" name="Google Shape;703;p114">
                <a:extLst>
                  <a:ext uri="{FF2B5EF4-FFF2-40B4-BE49-F238E27FC236}">
                    <a16:creationId xmlns:a16="http://schemas.microsoft.com/office/drawing/2014/main" id="{19340BDF-3D1E-735A-B58C-36A841CD0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342900" y="1289052"/>
                <a:ext cx="3961371" cy="3226970"/>
              </a:xfrm>
              <a:prstGeom prst="rect">
                <a:avLst/>
              </a:prstGeom>
              <a:blipFill>
                <a:blip r:embed="rId13"/>
                <a:stretch>
                  <a:fillRect r="-460"/>
                </a:stretch>
              </a:blipFill>
              <a:ln>
                <a:solidFill>
                  <a:srgbClr val="9FBCB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454299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55EF6-5A56-A66B-E0DF-D7C20174B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88D9A1A-A82A-E598-9679-A1864849CB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8D9A1A-A82A-E598-9679-A1864849C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12316B8-EEE8-7FCD-F819-DDD74C3422A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42900" y="792834"/>
            <a:ext cx="8455914" cy="3930557"/>
          </a:xfrm>
        </p:spPr>
        <p:txBody>
          <a:bodyPr numCol="2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2666" indent="-285750">
              <a:buClr>
                <a:schemeClr val="accent1"/>
              </a:buClr>
            </a:pPr>
            <a:r>
              <a:rPr lang="en-US" sz="1400" b="1" noProof="1"/>
              <a:t>M4ESTRO Project Overview</a:t>
            </a:r>
            <a:endParaRPr lang="en-US" sz="1300" noProof="1"/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Motivation &amp; Purpose
Key Contributions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Dataset &amp; External Source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Pilot and Tracking data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Traffic, Weather and Holiday data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Supply Chain Modeling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Supply Chain Graph Model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Markov Chain Routing Model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Paths Extraction and Probability Distributions</a:t>
            </a:r>
            <a:endParaRPr lang="en-US" noProof="1"/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Historical Indicator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Definit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Implementation</a:t>
            </a:r>
          </a:p>
          <a:p>
            <a:pPr marL="261938" indent="-175022">
              <a:buClr>
                <a:schemeClr val="accent1"/>
              </a:buClr>
            </a:pPr>
            <a:endParaRPr lang="en-US" sz="1400" b="1" noProof="1"/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Realtime Indicator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Overview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Definit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Implementation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Protoype &amp; Experimental Evaluat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Prototype Architecture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Evaluation Methodology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Quantitative Evaluation 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Sensitivity Analysi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Evolution of Shipment Estimates</a:t>
            </a:r>
            <a:endParaRPr lang="en-US" sz="1400" b="1" noProof="1"/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Conclus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Future Develop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0F2B1D-3814-7AED-D61A-4EF6159C272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325612"/>
            <a:ext cx="8455914" cy="370332"/>
          </a:xfrm>
        </p:spPr>
        <p:txBody>
          <a:bodyPr vert="horz" lIns="0" rIns="0" bIns="3429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>
                <a:solidFill>
                  <a:schemeClr val="accent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5842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97834A-A7DA-E4FD-5F8A-E9B9F47B17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AA94869-8DB6-24EE-7791-D4B378D095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A94869-8DB6-24EE-7791-D4B378D09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CFCC872-CF2F-2B4B-3C72-D772CE49F12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Implementation (1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7C64592-B1CF-F5A2-9CF8-FEF4CC960F5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0D2ABA2E-D00E-B288-069D-335888AB4B1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Objectiv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EA9D79F-6AB0-7CD7-A3F3-572DA6AF619C}"/>
                  </a:ext>
                </a:extLst>
              </p:cNvPr>
              <p:cNvSpPr txBox="1"/>
              <p:nvPr/>
            </p:nvSpPr>
            <p:spPr>
              <a:xfrm>
                <a:off x="4672439" y="1291411"/>
                <a:ext cx="3886201" cy="10012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>
                    <a:latin typeface="+mn-lt"/>
                  </a:rPr>
                  <a:t>Implement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1" noProof="1" smtClean="0">
                        <a:latin typeface="Cambria Math" panose="02040503050406030204" pitchFamily="18" charset="0"/>
                      </a:rPr>
                      <m:t>α</m:t>
                    </m:r>
                  </m:oMath>
                </a14:m>
                <a:r>
                  <a:rPr lang="en-US" sz="1200" noProof="1">
                    <a:latin typeface="+mn-lt"/>
                  </a:rPr>
                  <a:t> as a </a:t>
                </a:r>
                <a:r>
                  <a:rPr lang="en-US" sz="1200" b="1" noProof="1">
                    <a:latin typeface="+mn-lt"/>
                  </a:rPr>
                  <a:t>non-increasing function </a:t>
                </a:r>
                <a:r>
                  <a:rPr lang="en-US" sz="1200" noProof="1">
                    <a:latin typeface="+mn-lt"/>
                  </a:rPr>
                  <a:t>of</a:t>
                </a:r>
                <a:r>
                  <a:rPr lang="en-US" sz="1200" noProof="1"/>
                  <a:t> </a:t>
                </a:r>
                <a:r>
                  <a:rPr lang="en-US" sz="1200" noProof="1">
                    <a:latin typeface="+mn-lt"/>
                  </a:rPr>
                  <a:t>the </a:t>
                </a:r>
                <a:r>
                  <a:rPr lang="en-US" sz="1200" b="1" noProof="1">
                    <a:latin typeface="+mn-lt"/>
                  </a:rPr>
                  <a:t>proportion</a:t>
                </a:r>
                <a:r>
                  <a:rPr lang="en-US" sz="1200" noProof="1">
                    <a:latin typeface="+mn-lt"/>
                  </a:rPr>
                  <a:t> of </a:t>
                </a:r>
                <a:r>
                  <a:rPr lang="en-US" sz="1200" b="1" noProof="1">
                    <a:latin typeface="+mn-lt"/>
                  </a:rPr>
                  <a:t>expected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shipment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time </a:t>
                </a:r>
                <a:r>
                  <a:rPr lang="en-US" sz="1200" noProof="1">
                    <a:latin typeface="+mn-lt"/>
                  </a:rPr>
                  <a:t>that has </a:t>
                </a:r>
                <a:r>
                  <a:rPr lang="en-US" sz="1200" b="1" noProof="1">
                    <a:latin typeface="+mn-lt"/>
                  </a:rPr>
                  <a:t>elapsed</a:t>
                </a:r>
                <a:r>
                  <a:rPr lang="en-US" sz="1200" noProof="1">
                    <a:latin typeface="+mn-lt"/>
                  </a:rPr>
                  <a:t>:</a:t>
                </a:r>
              </a:p>
              <a:p>
                <a:pPr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200" i="1" noProof="1">
                          <a:latin typeface="Cambria Math" panose="02040503050406030204" pitchFamily="18" charset="0"/>
                        </a:rPr>
                        <m:t>τ</m:t>
                      </m:r>
                      <m:r>
                        <a:rPr lang="en-US" sz="1200" noProof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</a:rPr>
                            <m:t>t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sz="1200" noProof="1">
                              <a:latin typeface="Cambria Math" panose="02040503050406030204" pitchFamily="18" charset="0"/>
                            </a:rPr>
                            <m:t>S</m:t>
                          </m:r>
                          <m:sSub>
                            <m:sSubPr>
                              <m:ctrlPr>
                                <a:rPr lang="en-US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1200" noProof="1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</m:e>
                            <m:sub>
                              <m:r>
                                <a:rPr lang="en-US" sz="1200" i="1" noProof="1">
                                  <a:latin typeface="Cambria Math" panose="02040503050406030204" pitchFamily="18" charset="0"/>
                                </a:rPr>
                                <m:t>𝜇</m:t>
                              </m:r>
                            </m:sub>
                          </m:sSub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</a:rPr>
                            <m:t>s</m:t>
                          </m:r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</a:rPr>
                            <m:t>c</m:t>
                          </m:r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sz="1200" noProof="1">
                  <a:latin typeface="+mn-lt"/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EA9D79F-6AB0-7CD7-A3F3-572DA6AF61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2439" y="1291411"/>
                <a:ext cx="3886201" cy="1001236"/>
              </a:xfrm>
              <a:prstGeom prst="rect">
                <a:avLst/>
              </a:prstGeom>
              <a:blipFill>
                <a:blip r:embed="rId10"/>
                <a:stretch>
                  <a:fillRect t="-6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Google Shape;10527;p9415">
            <a:extLst>
              <a:ext uri="{FF2B5EF4-FFF2-40B4-BE49-F238E27FC236}">
                <a16:creationId xmlns:a16="http://schemas.microsoft.com/office/drawing/2014/main" id="{FA7FB2D8-B23E-0154-DC1B-672992B495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672440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Solu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A796EF3-2394-6F1E-1FC0-68E0AEAE698F}"/>
                  </a:ext>
                </a:extLst>
              </p:cNvPr>
              <p:cNvSpPr txBox="1"/>
              <p:nvPr/>
            </p:nvSpPr>
            <p:spPr>
              <a:xfrm>
                <a:off x="3342998" y="4424243"/>
                <a:ext cx="265888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TFST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α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TT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+(1−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α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)⋅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PT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A796EF3-2394-6F1E-1FC0-68E0AEAE69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2998" y="4424243"/>
                <a:ext cx="2658881" cy="307777"/>
              </a:xfrm>
              <a:prstGeom prst="rect">
                <a:avLst/>
              </a:prstGeom>
              <a:blipFill>
                <a:blip r:embed="rId11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1A05424-B213-DC0E-7D7C-0C28DDA7031F}"/>
                  </a:ext>
                </a:extLst>
              </p:cNvPr>
              <p:cNvSpPr txBox="1"/>
              <p:nvPr/>
            </p:nvSpPr>
            <p:spPr>
              <a:xfrm>
                <a:off x="342898" y="1285876"/>
                <a:ext cx="3938157" cy="10156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latin typeface="+mn-lt"/>
                  </a:rPr>
                  <a:t>Transit Time</a:t>
                </a:r>
                <a:r>
                  <a:rPr lang="en-US" sz="1200" dirty="0">
                    <a:latin typeface="+mn-lt"/>
                  </a:rPr>
                  <a:t>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i="0">
                        <a:latin typeface="Cambria Math" panose="02040503050406030204" pitchFamily="18" charset="0"/>
                      </a:rPr>
                      <m:t>TT</m:t>
                    </m:r>
                  </m:oMath>
                </a14:m>
                <a:r>
                  <a:rPr lang="en-US" sz="1200" dirty="0">
                    <a:latin typeface="+mn-lt"/>
                  </a:rPr>
                  <a:t>): effective for on-time shipments; unable to manage advances or delays.</a:t>
                </a:r>
              </a:p>
              <a:p>
                <a:endParaRPr lang="en-US" sz="1200" b="1" dirty="0">
                  <a:latin typeface="+mn-lt"/>
                </a:endParaRPr>
              </a:p>
              <a:p>
                <a:r>
                  <a:rPr lang="en-US" sz="1200" b="1" dirty="0">
                    <a:latin typeface="+mn-lt"/>
                  </a:rPr>
                  <a:t>Path Time</a:t>
                </a:r>
                <a:r>
                  <a:rPr lang="en-US" sz="1200" dirty="0">
                    <a:latin typeface="+mn-lt"/>
                  </a:rPr>
                  <a:t>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i="0" dirty="0">
                        <a:latin typeface="Cambria Math" panose="02040503050406030204" pitchFamily="18" charset="0"/>
                      </a:rPr>
                      <m:t>P</m:t>
                    </m:r>
                    <m:r>
                      <m:rPr>
                        <m:sty m:val="p"/>
                      </m:rPr>
                      <a:rPr lang="en-US" sz="1200" i="0">
                        <a:latin typeface="Cambria Math" panose="02040503050406030204" pitchFamily="18" charset="0"/>
                      </a:rPr>
                      <m:t>T</m:t>
                    </m:r>
                  </m:oMath>
                </a14:m>
                <a:r>
                  <a:rPr lang="en-US" sz="1200" dirty="0">
                    <a:latin typeface="+mn-lt"/>
                  </a:rPr>
                  <a:t>): high uncertainty at the start; able to handle advances and delays.</a:t>
                </a:r>
              </a:p>
            </p:txBody>
          </p:sp>
        </mc:Choice>
        <mc:Fallback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1A05424-B213-DC0E-7D7C-0C28DDA703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2898" y="1285876"/>
                <a:ext cx="3938157" cy="1015663"/>
              </a:xfrm>
              <a:prstGeom prst="rect">
                <a:avLst/>
              </a:prstGeom>
              <a:blipFill>
                <a:blip r:embed="rId12"/>
                <a:stretch>
                  <a:fillRect t="-599" r="-619" b="-359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ED260B99-1286-0B99-435C-D0C84C52C3D4}"/>
              </a:ext>
            </a:extLst>
          </p:cNvPr>
          <p:cNvSpPr txBox="1"/>
          <p:nvPr/>
        </p:nvSpPr>
        <p:spPr>
          <a:xfrm>
            <a:off x="342897" y="2940634"/>
            <a:ext cx="3886201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ptos Light" panose="020B0004020202020204" pitchFamily="34" charset="0"/>
              </a:rPr>
              <a:t>Early phase:</a:t>
            </a:r>
            <a:r>
              <a:rPr lang="en-US" sz="1200" dirty="0">
                <a:latin typeface="Aptos Light" panose="020B0004020202020204" pitchFamily="34" charset="0"/>
              </a:rPr>
              <a:t> prioritize </a:t>
            </a:r>
            <a:r>
              <a:rPr lang="en-US" sz="1200" b="1" dirty="0">
                <a:latin typeface="Aptos Light" panose="020B0004020202020204" pitchFamily="34" charset="0"/>
              </a:rPr>
              <a:t>Transit Time</a:t>
            </a:r>
            <a:r>
              <a:rPr lang="en-US" sz="1200" dirty="0">
                <a:latin typeface="Aptos Light" panose="020B0004020202020204" pitchFamily="34" charset="0"/>
              </a:rPr>
              <a:t> to manage higher uncertainty and limited timing deviations.</a:t>
            </a:r>
            <a:endParaRPr lang="en-US" sz="1200" b="1" dirty="0">
              <a:latin typeface="Aptos Light" panose="020B00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Aptos Light" panose="020B0004020202020204" pitchFamily="34" charset="0"/>
            </a:endParaRPr>
          </a:p>
          <a:p>
            <a:r>
              <a:rPr lang="en-US" sz="1200" b="1" dirty="0">
                <a:latin typeface="Aptos Light" panose="020B0004020202020204" pitchFamily="34" charset="0"/>
              </a:rPr>
              <a:t>Progressing phase:</a:t>
            </a:r>
            <a:r>
              <a:rPr lang="en-US" sz="1200" dirty="0">
                <a:latin typeface="Aptos Light" panose="020B0004020202020204" pitchFamily="34" charset="0"/>
              </a:rPr>
              <a:t> prioritize </a:t>
            </a:r>
            <a:r>
              <a:rPr lang="en-US" sz="1200" b="1" dirty="0">
                <a:latin typeface="Aptos Light" panose="020B0004020202020204" pitchFamily="34" charset="0"/>
              </a:rPr>
              <a:t>Path Time</a:t>
            </a:r>
            <a:r>
              <a:rPr lang="en-US" sz="1200" dirty="0">
                <a:latin typeface="Aptos Light" panose="020B0004020202020204" pitchFamily="34" charset="0"/>
              </a:rPr>
              <a:t> as uncertainty decreases and timing deviations emerge.</a:t>
            </a:r>
          </a:p>
          <a:p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76C0FBB-F603-477B-26C9-0F38FA8891B1}"/>
                  </a:ext>
                </a:extLst>
              </p:cNvPr>
              <p:cNvSpPr txBox="1"/>
              <p:nvPr/>
            </p:nvSpPr>
            <p:spPr>
              <a:xfrm>
                <a:off x="4662019" y="2946038"/>
                <a:ext cx="3886201" cy="1162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>
                    <a:latin typeface="+mn-lt"/>
                  </a:rPr>
                  <a:t>Three proposed implementations:</a:t>
                </a:r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b="1" noProof="1">
                    <a:latin typeface="+mn-lt"/>
                  </a:rPr>
                  <a:t>Constant</a:t>
                </a:r>
                <a:r>
                  <a:rPr lang="en-US" sz="1200" noProof="1">
                    <a:latin typeface="+mn-lt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+mn-lt"/>
                      </a:rPr>
                      <m:t>𝛼</m:t>
                    </m:r>
                    <m:r>
                      <a:rPr lang="en-US" sz="1200" i="1" noProof="1">
                        <a:latin typeface="+mn-lt"/>
                      </a:rPr>
                      <m:t>=</m:t>
                    </m:r>
                    <m:r>
                      <a:rPr lang="en-US" sz="1200" i="1" noProof="1">
                        <a:latin typeface="+mn-lt"/>
                      </a:rPr>
                      <m:t>𝑘</m:t>
                    </m:r>
                  </m:oMath>
                </a14:m>
                <a:endParaRPr lang="en-US" sz="1200" i="1" noProof="1">
                  <a:latin typeface="+mn-lt"/>
                </a:endParaRPr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b="1" noProof="1">
                    <a:latin typeface="+mn-lt"/>
                  </a:rPr>
                  <a:t>Linear</a:t>
                </a:r>
                <a:r>
                  <a:rPr lang="en-US" sz="1200" noProof="1">
                    <a:latin typeface="+mn-lt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+mn-lt"/>
                      </a:rPr>
                      <m:t>𝛼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it-IT" sz="1200" b="0" i="1" noProof="1" smtClean="0">
                        <a:latin typeface="Cambria Math" panose="02040503050406030204" pitchFamily="18" charset="0"/>
                      </a:rPr>
                      <m:t>τ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sz="1200" i="1" noProof="1">
                        <a:latin typeface="+mn-lt"/>
                      </a:rPr>
                      <m:t>=</m:t>
                    </m:r>
                    <m:func>
                      <m:funcPr>
                        <m:ctrlPr>
                          <a:rPr lang="en-US" sz="1200" i="1" noProof="1">
                            <a:latin typeface="+mn-lt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sz="1200" i="0" noProof="1">
                            <a:latin typeface="+mn-lt"/>
                          </a:rPr>
                          <m:t>max</m:t>
                        </m:r>
                      </m:fName>
                      <m:e>
                        <m:r>
                          <a:rPr lang="en-US" sz="1200" i="1" noProof="1">
                            <a:latin typeface="+mn-lt"/>
                          </a:rPr>
                          <m:t>(1 − </m:t>
                        </m:r>
                        <m:r>
                          <a:rPr lang="en-US" sz="1200" i="1" noProof="1">
                            <a:latin typeface="+mn-lt"/>
                          </a:rPr>
                          <m:t>𝜏</m:t>
                        </m:r>
                        <m:r>
                          <a:rPr lang="en-US" sz="1200" i="1" noProof="1">
                            <a:latin typeface="+mn-lt"/>
                          </a:rPr>
                          <m:t>,0)</m:t>
                        </m:r>
                      </m:e>
                    </m:func>
                  </m:oMath>
                </a14:m>
                <a:endParaRPr lang="en-US" sz="1200" noProof="1">
                  <a:latin typeface="+mn-lt"/>
                </a:endParaRPr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b="1" noProof="1">
                    <a:latin typeface="+mn-lt"/>
                  </a:rPr>
                  <a:t>Polynomial</a:t>
                </a:r>
                <a:r>
                  <a:rPr lang="en-US" sz="1200" noProof="1">
                    <a:latin typeface="+mn-lt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+mn-lt"/>
                      </a:rPr>
                      <m:t>𝛼</m:t>
                    </m:r>
                    <m:d>
                      <m:dPr>
                        <m:ctrlPr>
                          <a:rPr lang="en-US" sz="1200" i="1" noProof="1">
                            <a:latin typeface="+mn-lt"/>
                          </a:rPr>
                        </m:ctrlPr>
                      </m:dPr>
                      <m:e>
                        <m:r>
                          <a:rPr lang="en-US" sz="1200" i="1" noProof="1">
                            <a:latin typeface="+mn-lt"/>
                          </a:rPr>
                          <m:t>𝜏</m:t>
                        </m:r>
                        <m:r>
                          <a:rPr lang="en-US" sz="1200" i="1" noProof="1">
                            <a:latin typeface="+mn-lt"/>
                          </a:rPr>
                          <m:t>;</m:t>
                        </m:r>
                        <m:d>
                          <m:dPr>
                            <m:begChr m:val="⟨"/>
                            <m:endChr m:val="⟩"/>
                            <m:ctrlPr>
                              <a:rPr lang="en-US" sz="1200" i="1" noProof="1">
                                <a:latin typeface="+mn-lt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+mn-lt"/>
                              </a:rPr>
                              <m:t>𝑇𝑇</m:t>
                            </m:r>
                          </m:e>
                        </m:d>
                      </m:e>
                    </m:d>
                    <m:r>
                      <a:rPr lang="en-US" sz="1200" i="1" noProof="1">
                        <a:latin typeface="+mn-lt"/>
                      </a:rPr>
                      <m:t>=</m:t>
                    </m:r>
                    <m:sSup>
                      <m:sSupPr>
                        <m:ctrlPr>
                          <a:rPr lang="en-US" sz="1200" i="1" noProof="1">
                            <a:latin typeface="+mn-lt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1200" i="1" noProof="1">
                                <a:latin typeface="+mn-lt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+mn-lt"/>
                              </a:rPr>
                              <m:t>1−</m:t>
                            </m:r>
                            <m:r>
                              <a:rPr lang="en-US" sz="1200" i="1" noProof="1">
                                <a:latin typeface="+mn-lt"/>
                              </a:rPr>
                              <m:t>𝜏</m:t>
                            </m:r>
                          </m:e>
                        </m:d>
                      </m:e>
                      <m:sup>
                        <m:r>
                          <a:rPr lang="en-US" sz="1200" i="1" noProof="1">
                            <a:latin typeface="+mn-lt"/>
                          </a:rPr>
                          <m:t>𝑞</m:t>
                        </m:r>
                      </m:sup>
                    </m:sSup>
                    <m:r>
                      <a:rPr lang="en-US" sz="1200" i="1" noProof="1">
                        <a:latin typeface="+mn-lt"/>
                      </a:rPr>
                      <m:t>, </m:t>
                    </m:r>
                    <m:r>
                      <a:rPr lang="en-US" sz="1200" i="1" noProof="1">
                        <a:latin typeface="+mn-lt"/>
                      </a:rPr>
                      <m:t> 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    </m:t>
                    </m:r>
                    <m:r>
                      <a:rPr lang="en-US" sz="1200" i="1" noProof="1">
                        <a:latin typeface="+mn-lt"/>
                      </a:rPr>
                      <m:t>𝑞</m:t>
                    </m:r>
                    <m:r>
                      <a:rPr lang="en-US" sz="1200" i="1" noProof="1">
                        <a:latin typeface="+mn-lt"/>
                      </a:rPr>
                      <m:t>=</m:t>
                    </m:r>
                    <m:f>
                      <m:fPr>
                        <m:ctrlPr>
                          <a:rPr lang="en-US" sz="1200" i="1" noProof="1">
                            <a:latin typeface="+mn-lt"/>
                          </a:rPr>
                        </m:ctrlPr>
                      </m:fPr>
                      <m:num>
                        <m:r>
                          <a:rPr lang="en-US" sz="1200" i="1" noProof="1">
                            <a:latin typeface="+mn-lt"/>
                          </a:rPr>
                          <m:t>1</m:t>
                        </m:r>
                      </m:num>
                      <m:den>
                        <m:d>
                          <m:dPr>
                            <m:begChr m:val="⟨"/>
                            <m:endChr m:val="⟩"/>
                            <m:ctrlPr>
                              <a:rPr lang="en-US" sz="1200" i="1" noProof="1">
                                <a:latin typeface="+mn-lt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+mn-lt"/>
                              </a:rPr>
                              <m:t>𝑇𝑇</m:t>
                            </m:r>
                          </m:e>
                        </m:d>
                      </m:den>
                    </m:f>
                    <m:r>
                      <a:rPr lang="en-US" sz="1200" i="1" noProof="1">
                        <a:latin typeface="+mn-lt"/>
                      </a:rPr>
                      <m:t>−1</m:t>
                    </m:r>
                  </m:oMath>
                </a14:m>
                <a:endParaRPr lang="en-US" sz="1200" noProof="1">
                  <a:latin typeface="+mn-lt"/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76C0FBB-F603-477B-26C9-0F38FA8891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2019" y="2946038"/>
                <a:ext cx="3886201" cy="1162306"/>
              </a:xfrm>
              <a:prstGeom prst="rect">
                <a:avLst/>
              </a:prstGeom>
              <a:blipFill>
                <a:blip r:embed="rId13"/>
                <a:stretch>
                  <a:fillRect l="-1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Arrow: Down 10">
            <a:extLst>
              <a:ext uri="{FF2B5EF4-FFF2-40B4-BE49-F238E27FC236}">
                <a16:creationId xmlns:a16="http://schemas.microsoft.com/office/drawing/2014/main" id="{E7106D51-4DC3-E47F-A08A-E9EDD968A959}"/>
              </a:ext>
            </a:extLst>
          </p:cNvPr>
          <p:cNvSpPr/>
          <p:nvPr/>
        </p:nvSpPr>
        <p:spPr>
          <a:xfrm>
            <a:off x="6479806" y="2391319"/>
            <a:ext cx="250628" cy="45953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9874BF8-847D-E773-D943-EACBD4E71709}"/>
              </a:ext>
            </a:extLst>
          </p:cNvPr>
          <p:cNvSpPr/>
          <p:nvPr/>
        </p:nvSpPr>
        <p:spPr>
          <a:xfrm>
            <a:off x="2160684" y="2391319"/>
            <a:ext cx="250628" cy="45953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25569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90038D-15FB-94D0-CACD-D9480D4A5C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08FD64-B4DD-9FB0-E760-1B878D07C5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8FD64-B4DD-9FB0-E760-1B878D07C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36D62E2-7270-F707-11ED-AAE4081A20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Implementation (2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B168ADB-010E-4C40-44CA-6BD38B25C77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F3FC5B-9E8A-7DEA-E7FE-9FB41573C50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408213" y="1022552"/>
            <a:ext cx="3487032" cy="260423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F8A0F1B-A7E1-5E31-1048-5E0F10D7ECC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4855588" y="943476"/>
            <a:ext cx="3685347" cy="2767154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F08DCE9-00F2-839E-FF64-F443C8E43602}"/>
                  </a:ext>
                </a:extLst>
              </p:cNvPr>
              <p:cNvSpPr txBox="1"/>
              <p:nvPr/>
            </p:nvSpPr>
            <p:spPr>
              <a:xfrm>
                <a:off x="5073568" y="3673661"/>
                <a:ext cx="3467367" cy="52636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noProof="1" smtClean="0">
                          <a:latin typeface="Cambria Math" panose="02040503050406030204" pitchFamily="18" charset="0"/>
                        </a:rPr>
                        <m:t>𝛼</m:t>
                      </m:r>
                      <m:d>
                        <m:dPr>
                          <m:ctrlPr>
                            <a:rPr lang="en-US" sz="1400" i="1" noProof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𝜏</m:t>
                          </m:r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;</m:t>
                          </m:r>
                          <m:d>
                            <m:dPr>
                              <m:begChr m:val="⟨"/>
                              <m:endChr m:val="⟩"/>
                              <m:ctrlP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  <m:t>𝑇𝑇</m:t>
                              </m:r>
                            </m:e>
                          </m:d>
                        </m:e>
                      </m:d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1400" i="1" noProof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e>
                          </m:d>
                        </m:e>
                        <m:sup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𝑞</m:t>
                          </m:r>
                        </m:sup>
                      </m:sSup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,  </m:t>
                      </m:r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400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d>
                            <m:dPr>
                              <m:begChr m:val="⟨"/>
                              <m:endChr m:val="⟩"/>
                              <m:ctrlP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  <m:t>𝑇𝑇</m:t>
                              </m:r>
                            </m:e>
                          </m:d>
                        </m:den>
                      </m:f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−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F08DCE9-00F2-839E-FF64-F443C8E436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73568" y="3673661"/>
                <a:ext cx="3467367" cy="52636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6265EBD-B3BB-7C42-B34D-A21C2F83239E}"/>
                  </a:ext>
                </a:extLst>
              </p:cNvPr>
              <p:cNvSpPr txBox="1"/>
              <p:nvPr/>
            </p:nvSpPr>
            <p:spPr>
              <a:xfrm>
                <a:off x="-134271" y="3782953"/>
                <a:ext cx="457200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noProof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it-IT" sz="1400" b="0" i="1" noProof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it-IT" sz="1400" b="0" i="1" noProof="1" smtClean="0">
                          <a:latin typeface="Cambria Math" panose="02040503050406030204" pitchFamily="18" charset="0"/>
                        </a:rPr>
                        <m:t>τ</m:t>
                      </m:r>
                      <m:r>
                        <a:rPr lang="it-IT" sz="1400" b="0" i="1" noProof="1" smtClean="0">
                          <a:latin typeface="Cambria Math" panose="02040503050406030204" pitchFamily="18" charset="0"/>
                        </a:rPr>
                        <m:t>)=</m:t>
                      </m:r>
                      <m:func>
                        <m:funcPr>
                          <m:ctrlPr>
                            <a:rPr lang="en-US" sz="1400" i="1" noProof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400" i="0" noProof="1"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(1 − </m:t>
                          </m:r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𝜏</m:t>
                          </m:r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,0)</m:t>
                          </m:r>
                        </m:e>
                      </m:func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6265EBD-B3BB-7C42-B34D-A21C2F8323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34271" y="3782953"/>
                <a:ext cx="4572000" cy="307777"/>
              </a:xfrm>
              <a:prstGeom prst="rect">
                <a:avLst/>
              </a:prstGeom>
              <a:blipFill>
                <a:blip r:embed="rId11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905436E-A8BB-E67B-6613-0E780CB49250}"/>
                  </a:ext>
                </a:extLst>
              </p:cNvPr>
              <p:cNvSpPr txBox="1"/>
              <p:nvPr/>
            </p:nvSpPr>
            <p:spPr>
              <a:xfrm>
                <a:off x="5087917" y="4305850"/>
                <a:ext cx="345301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noProof="1">
                    <a:latin typeface="+mn-lt"/>
                  </a:rPr>
                  <a:t>Tune</a:t>
                </a:r>
                <a:r>
                  <a:rPr lang="en-US" sz="1200" noProof="1"/>
                  <a:t>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〈</m:t>
                    </m:r>
                    <m:r>
                      <m:rPr>
                        <m:sty m:val="p"/>
                      </m:rPr>
                      <a:rPr lang="en-US" sz="1200" i="1" noProof="1">
                        <a:latin typeface="Cambria Math" panose="02040503050406030204" pitchFamily="18" charset="0"/>
                      </a:rPr>
                      <m:t>TT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〉</m:t>
                    </m:r>
                  </m:oMath>
                </a14:m>
                <a:r>
                  <a:rPr lang="en-US" sz="1200" noProof="1"/>
                  <a:t> </a:t>
                </a:r>
                <a:r>
                  <a:rPr lang="en-US" sz="1200" noProof="1">
                    <a:latin typeface="+mn-lt"/>
                  </a:rPr>
                  <a:t>to </a:t>
                </a:r>
                <a:r>
                  <a:rPr lang="en-US" sz="1200" b="1" noProof="1">
                    <a:latin typeface="+mn-lt"/>
                  </a:rPr>
                  <a:t>minimize</a:t>
                </a:r>
                <a:r>
                  <a:rPr lang="en-US" sz="1200" noProof="1">
                    <a:latin typeface="+mn-lt"/>
                  </a:rPr>
                  <a:t> the total </a:t>
                </a:r>
                <a:r>
                  <a:rPr lang="en-US" sz="1200" b="1" noProof="1">
                    <a:latin typeface="+mn-lt"/>
                  </a:rPr>
                  <a:t>estimation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error</a:t>
                </a:r>
                <a:r>
                  <a:rPr lang="en-US" sz="1200" noProof="1">
                    <a:latin typeface="+mn-lt"/>
                  </a:rPr>
                  <a:t> of </a:t>
                </a:r>
                <a:r>
                  <a:rPr lang="en-US" sz="1200" b="1" noProof="1">
                    <a:latin typeface="+mn-lt"/>
                  </a:rPr>
                  <a:t>TFST</a:t>
                </a:r>
                <a:r>
                  <a:rPr lang="en-US" sz="1200" noProof="1">
                    <a:latin typeface="+mn-lt"/>
                  </a:rPr>
                  <a:t> relative to the observed shipment times. </a:t>
                </a:r>
              </a:p>
            </p:txBody>
          </p:sp>
        </mc:Choice>
        <mc:Fallback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905436E-A8BB-E67B-6613-0E780CB492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7917" y="4305850"/>
                <a:ext cx="3453018" cy="461665"/>
              </a:xfrm>
              <a:prstGeom prst="rect">
                <a:avLst/>
              </a:prstGeom>
              <a:blipFill>
                <a:blip r:embed="rId12"/>
                <a:stretch>
                  <a:fillRect l="-177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ED8B776A-9A97-FF87-DDE3-BB732128FEFA}"/>
              </a:ext>
            </a:extLst>
          </p:cNvPr>
          <p:cNvSpPr txBox="1"/>
          <p:nvPr/>
        </p:nvSpPr>
        <p:spPr>
          <a:xfrm>
            <a:off x="603065" y="4305850"/>
            <a:ext cx="34530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200" b="1" dirty="0">
                <a:latin typeface="+mn-lt"/>
              </a:rPr>
              <a:t>Prioritize</a:t>
            </a:r>
            <a:r>
              <a:rPr lang="en-US" sz="1200" dirty="0">
                <a:latin typeface="+mn-lt"/>
              </a:rPr>
              <a:t> </a:t>
            </a:r>
            <a:r>
              <a:rPr lang="en-US" sz="1200" b="1" dirty="0">
                <a:latin typeface="+mn-lt"/>
              </a:rPr>
              <a:t>PT</a:t>
            </a:r>
            <a:r>
              <a:rPr lang="en-US" sz="1200" dirty="0">
                <a:latin typeface="+mn-lt"/>
              </a:rPr>
              <a:t> over </a:t>
            </a:r>
            <a:r>
              <a:rPr lang="en-US" sz="1200" b="1" dirty="0">
                <a:latin typeface="+mn-lt"/>
              </a:rPr>
              <a:t>TT</a:t>
            </a:r>
            <a:r>
              <a:rPr lang="en-US" sz="1200" dirty="0">
                <a:latin typeface="+mn-lt"/>
              </a:rPr>
              <a:t> as shipment </a:t>
            </a:r>
            <a:r>
              <a:rPr lang="en-US" sz="1200" b="1" dirty="0">
                <a:latin typeface="+mn-lt"/>
              </a:rPr>
              <a:t>time</a:t>
            </a:r>
            <a:r>
              <a:rPr lang="en-US" sz="1200" dirty="0">
                <a:latin typeface="+mn-lt"/>
              </a:rPr>
              <a:t> </a:t>
            </a:r>
            <a:r>
              <a:rPr lang="en-US" sz="1200" b="1" dirty="0">
                <a:latin typeface="+mn-lt"/>
              </a:rPr>
              <a:t>progresses</a:t>
            </a:r>
            <a:r>
              <a:rPr lang="en-US" sz="1200" dirty="0">
                <a:latin typeface="+mn-lt"/>
              </a:rPr>
              <a:t>.</a:t>
            </a:r>
            <a:endParaRPr lang="en-US" altLang="en-US" sz="1200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88835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8D878E-617F-E340-7F6D-1326BE5CB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EA67B87-7F92-DB6F-12F2-65CFBE7AA0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B9BE9D-5053-FCC9-DE56-8E2B75DEDD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77D4BB-4AD5-D57E-4B2C-FDDA3C0CD6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2E52D5-690D-8A0C-0BD1-EEB1164C2F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EB9A8F4-43EB-5B1B-9539-49E8E1C17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93FEB8-9CF1-6DE6-C4CE-329DAEEF8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 err="1">
                <a:solidFill>
                  <a:srgbClr val="FFFFFF"/>
                </a:solidFill>
              </a:rPr>
              <a:t>Protoype</a:t>
            </a:r>
            <a:r>
              <a:rPr lang="en-US" sz="3600" dirty="0">
                <a:solidFill>
                  <a:srgbClr val="FFFFFF"/>
                </a:solidFill>
              </a:rPr>
              <a:t> &amp; Experimental Evaluation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5B7B18-03F8-AC29-9538-2F2E1B403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0ED136-86B0-D126-8F48-26E517BF1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6219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50A5E-44A5-FA4C-743B-8C889D930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80BE26-91E4-FB4A-C304-CF8C74A3C7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0BE26-91E4-FB4A-C304-CF8C74A3C7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4D8A881-CCB8-8107-FA67-496278B3773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Prototype Architectur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67DA829-9461-4352-F73F-E4A2A18B170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8EF981-F4A0-434F-A30A-297F83D6F7D9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21" r="21"/>
          <a:stretch/>
        </p:blipFill>
        <p:spPr>
          <a:xfrm>
            <a:off x="3712100" y="411052"/>
            <a:ext cx="5244891" cy="4391062"/>
          </a:xfrm>
          <a:prstGeom prst="rect">
            <a:avLst/>
          </a:prstGeom>
        </p:spPr>
      </p:pic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CCD174DB-393D-0CAB-D2D9-5FA39F17DDE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900063"/>
            <a:ext cx="3133032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Implementation &amp; Deployment</a:t>
            </a:r>
          </a:p>
        </p:txBody>
      </p:sp>
      <p:sp>
        <p:nvSpPr>
          <p:cNvPr id="23" name="Google Shape;703;p114">
            <a:extLst>
              <a:ext uri="{FF2B5EF4-FFF2-40B4-BE49-F238E27FC236}">
                <a16:creationId xmlns:a16="http://schemas.microsoft.com/office/drawing/2014/main" id="{A3A15FBD-3B5F-85FA-B84E-8076BB59BA1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1200344"/>
            <a:ext cx="3133032" cy="1635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dirty="0"/>
              <a:t>Developed in </a:t>
            </a:r>
            <a:r>
              <a:rPr lang="en-US" sz="1200" b="1" dirty="0"/>
              <a:t>Python</a:t>
            </a:r>
            <a:r>
              <a:rPr lang="en-US" sz="1200" dirty="0"/>
              <a:t> with deployment on </a:t>
            </a:r>
            <a:r>
              <a:rPr lang="en-US" sz="1200" b="1" dirty="0"/>
              <a:t>AWS: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Lambda</a:t>
            </a:r>
            <a:r>
              <a:rPr lang="en-US" sz="1200" dirty="0"/>
              <a:t> </a:t>
            </a:r>
            <a:r>
              <a:rPr lang="en-US" sz="1200" b="1" dirty="0"/>
              <a:t>Functions</a:t>
            </a:r>
            <a:r>
              <a:rPr lang="en-US" sz="1200" dirty="0"/>
              <a:t> &amp; </a:t>
            </a:r>
            <a:r>
              <a:rPr lang="en-US" sz="1200" b="1" dirty="0"/>
              <a:t>Layers</a:t>
            </a:r>
            <a:r>
              <a:rPr lang="en-US" sz="1200" dirty="0"/>
              <a:t>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RDS</a:t>
            </a:r>
            <a:r>
              <a:rPr lang="en-US" sz="1200" dirty="0"/>
              <a:t> (Relational Database Service)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S3</a:t>
            </a:r>
            <a:r>
              <a:rPr lang="en-US" sz="1200" noProof="1"/>
              <a:t> (Object Storage).</a:t>
            </a:r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API</a:t>
            </a:r>
            <a:r>
              <a:rPr lang="en-US" sz="1200" dirty="0"/>
              <a:t> </a:t>
            </a:r>
            <a:r>
              <a:rPr lang="en-US" sz="1200" b="1" dirty="0"/>
              <a:t>Gateway</a:t>
            </a:r>
            <a:r>
              <a:rPr lang="en-US" sz="1200" dirty="0"/>
              <a:t>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SQS</a:t>
            </a:r>
            <a:r>
              <a:rPr lang="en-US" sz="1200" dirty="0"/>
              <a:t> (Simple Queue Service).</a:t>
            </a:r>
            <a:endParaRPr lang="en-US" sz="1200" noProof="1"/>
          </a:p>
        </p:txBody>
      </p:sp>
      <p:sp>
        <p:nvSpPr>
          <p:cNvPr id="24" name="Google Shape;10527;p9415">
            <a:extLst>
              <a:ext uri="{FF2B5EF4-FFF2-40B4-BE49-F238E27FC236}">
                <a16:creationId xmlns:a16="http://schemas.microsoft.com/office/drawing/2014/main" id="{0197F563-814B-4287-F2C2-79F80B996F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9" y="3033242"/>
            <a:ext cx="3133033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Modularity &amp; Configurability</a:t>
            </a:r>
          </a:p>
        </p:txBody>
      </p:sp>
      <p:sp>
        <p:nvSpPr>
          <p:cNvPr id="25" name="Google Shape;703;p114">
            <a:extLst>
              <a:ext uri="{FF2B5EF4-FFF2-40B4-BE49-F238E27FC236}">
                <a16:creationId xmlns:a16="http://schemas.microsoft.com/office/drawing/2014/main" id="{A5712105-A1DE-0103-DDAE-C543D1034B0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3333523"/>
            <a:ext cx="3133032" cy="1359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Dynamic hyperparameter tuning</a:t>
            </a:r>
            <a:r>
              <a:rPr lang="en-US" sz="1200" dirty="0"/>
              <a:t> via centralized configuration table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Modular</a:t>
            </a:r>
            <a:r>
              <a:rPr lang="en-US" sz="1200" dirty="0"/>
              <a:t> </a:t>
            </a:r>
            <a:r>
              <a:rPr lang="en-US" sz="1200" b="1" dirty="0"/>
              <a:t>design</a:t>
            </a:r>
            <a:r>
              <a:rPr lang="en-US" sz="1200" dirty="0"/>
              <a:t> enabling independent evolution of individual components.</a:t>
            </a: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15702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02C011-F955-9E3D-4B46-F276E9EA7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4EDA644-686F-5DAB-6017-65A53A803D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DA644-686F-5DAB-6017-65A53A803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9BF845C-C243-4DCC-D347-A255C26169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aluation Methodology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14AD56C-0C18-156A-1844-4B153817336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sp>
        <p:nvSpPr>
          <p:cNvPr id="11" name="Google Shape;703;p114">
            <a:extLst>
              <a:ext uri="{FF2B5EF4-FFF2-40B4-BE49-F238E27FC236}">
                <a16:creationId xmlns:a16="http://schemas.microsoft.com/office/drawing/2014/main" id="{48C01E88-88E6-C44B-5E25-BE9D5A9F96E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1468760"/>
            <a:ext cx="3886201" cy="217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6916">
              <a:spcAft>
                <a:spcPts val="500"/>
              </a:spcAft>
            </a:pPr>
            <a:r>
              <a:rPr lang="en-US" sz="1200" dirty="0"/>
              <a:t>Distributions fitted using </a:t>
            </a:r>
            <a:r>
              <a:rPr lang="en-US" sz="1200" b="1" dirty="0"/>
              <a:t>hourly-resolution</a:t>
            </a:r>
            <a:r>
              <a:rPr lang="en-US" sz="1200" dirty="0"/>
              <a:t> data.</a:t>
            </a:r>
          </a:p>
          <a:p>
            <a:pPr marL="86916">
              <a:spcAft>
                <a:spcPts val="500"/>
              </a:spcAft>
            </a:pPr>
            <a:endParaRPr lang="en-US" sz="1200" dirty="0"/>
          </a:p>
          <a:p>
            <a:pPr marL="86916">
              <a:spcAft>
                <a:spcPts val="500"/>
              </a:spcAft>
            </a:pPr>
            <a:r>
              <a:rPr lang="en-US" sz="1200" dirty="0"/>
              <a:t>System </a:t>
            </a:r>
            <a:r>
              <a:rPr lang="en-US" sz="1200" b="1" dirty="0"/>
              <a:t>evaluated</a:t>
            </a:r>
            <a:r>
              <a:rPr lang="en-US" sz="1200" dirty="0"/>
              <a:t> at </a:t>
            </a:r>
            <a:r>
              <a:rPr lang="en-US" sz="1200" b="1" dirty="0"/>
              <a:t>daily</a:t>
            </a:r>
            <a:r>
              <a:rPr lang="en-US" sz="1200" dirty="0"/>
              <a:t> </a:t>
            </a:r>
            <a:r>
              <a:rPr lang="en-US" sz="1200" b="1" dirty="0"/>
              <a:t>scale</a:t>
            </a:r>
            <a:r>
              <a:rPr lang="en-US" sz="1200" dirty="0"/>
              <a:t> using two approaches:</a:t>
            </a:r>
            <a:endParaRPr lang="en-US" sz="1200" b="1" noProof="1"/>
          </a:p>
          <a:p>
            <a:pPr marL="258366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Hourly-based:</a:t>
            </a:r>
            <a:r>
              <a:rPr lang="en-US" sz="1200" dirty="0"/>
              <a:t> metrics computed from hourly predictions, then reported by day.</a:t>
            </a:r>
          </a:p>
          <a:p>
            <a:pPr marL="258366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Daily-based:</a:t>
            </a:r>
            <a:r>
              <a:rPr lang="en-US" sz="1200" dirty="0"/>
              <a:t> predictions discretized into business days, with metrics directly evaluated at this scale.</a:t>
            </a:r>
            <a:endParaRPr lang="en-US" sz="1200" noProof="1"/>
          </a:p>
        </p:txBody>
      </p:sp>
      <p:sp>
        <p:nvSpPr>
          <p:cNvPr id="4" name="Google Shape;703;p114">
            <a:extLst>
              <a:ext uri="{FF2B5EF4-FFF2-40B4-BE49-F238E27FC236}">
                <a16:creationId xmlns:a16="http://schemas.microsoft.com/office/drawing/2014/main" id="{241C91F2-5FA7-7B0B-BE24-18EB2657DEF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672440" y="1468760"/>
            <a:ext cx="3886201" cy="217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noProof="1"/>
              <a:t>Quantitative evaluation on: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Sharpness</a:t>
            </a:r>
            <a:r>
              <a:rPr lang="en-US" sz="1200" noProof="1"/>
              <a:t>: width of predicted intervals.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Coverage: </a:t>
            </a:r>
            <a:r>
              <a:rPr lang="en-US" sz="1200" noProof="1"/>
              <a:t>proportion of observations within the predicted interval.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Interval Score: </a:t>
            </a:r>
            <a:r>
              <a:rPr lang="en-US" sz="1200" noProof="1"/>
              <a:t>single measure accounting for both sharpness and coverage.</a:t>
            </a:r>
          </a:p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b="1" noProof="1"/>
              <a:t>Sensitivity Analysis</a:t>
            </a:r>
            <a:r>
              <a:rPr lang="en-US" sz="1200" noProof="1"/>
              <a:t>: </a:t>
            </a:r>
            <a:r>
              <a:rPr lang="en-US" sz="1200" dirty="0"/>
              <a:t>assessing model coverage across varying confidence levels.</a:t>
            </a:r>
          </a:p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b="1" noProof="1"/>
              <a:t>Visualization</a:t>
            </a:r>
            <a:r>
              <a:rPr lang="en-US" sz="1200" noProof="1"/>
              <a:t> of the evolution of </a:t>
            </a:r>
            <a:r>
              <a:rPr lang="en-US" sz="1200" b="1" noProof="1"/>
              <a:t>shipment</a:t>
            </a:r>
            <a:r>
              <a:rPr lang="en-US" sz="1200" noProof="1"/>
              <a:t> </a:t>
            </a:r>
            <a:r>
              <a:rPr lang="en-US" sz="1200" b="1" noProof="1"/>
              <a:t>estimates</a:t>
            </a:r>
            <a:r>
              <a:rPr lang="en-US" sz="1200" noProof="1"/>
              <a:t>.</a:t>
            </a:r>
          </a:p>
        </p:txBody>
      </p:sp>
      <p:sp>
        <p:nvSpPr>
          <p:cNvPr id="5" name="Google Shape;10527;p9415">
            <a:extLst>
              <a:ext uri="{FF2B5EF4-FFF2-40B4-BE49-F238E27FC236}">
                <a16:creationId xmlns:a16="http://schemas.microsoft.com/office/drawing/2014/main" id="{D3AE31F4-1E99-6203-E810-A5E31A8598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ime Resolution</a:t>
            </a:r>
          </a:p>
        </p:txBody>
      </p:sp>
      <p:sp>
        <p:nvSpPr>
          <p:cNvPr id="7" name="Google Shape;10527;p9415">
            <a:extLst>
              <a:ext uri="{FF2B5EF4-FFF2-40B4-BE49-F238E27FC236}">
                <a16:creationId xmlns:a16="http://schemas.microsoft.com/office/drawing/2014/main" id="{A8B026BE-8CBF-C95E-0707-C62EE16C9F0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72440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Evaluation step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18DCE05-AD8A-D680-65DF-F7B26665921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17500" y="3899045"/>
            <a:ext cx="8509000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  <a:buClrTx/>
            </a:pPr>
            <a:r>
              <a:rPr lang="en-US" sz="1400" b="1" dirty="0">
                <a:solidFill>
                  <a:srgbClr val="125E4B"/>
                </a:solidFill>
              </a:rPr>
              <a:t>Evaluation</a:t>
            </a:r>
            <a:r>
              <a:rPr lang="en-US" sz="1400" dirty="0">
                <a:solidFill>
                  <a:srgbClr val="125E4B"/>
                </a:solidFill>
              </a:rPr>
              <a:t> focused on the system’s ability to accurately predict </a:t>
            </a:r>
            <a:r>
              <a:rPr lang="en-US" sz="1400" b="1" dirty="0">
                <a:solidFill>
                  <a:srgbClr val="125E4B"/>
                </a:solidFill>
              </a:rPr>
              <a:t>deliver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tim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windows</a:t>
            </a:r>
            <a:r>
              <a:rPr lang="en-US" sz="1400" dirty="0">
                <a:solidFill>
                  <a:srgbClr val="125E4B"/>
                </a:solidFill>
              </a:rPr>
              <a:t> for orders, leveraging </a:t>
            </a:r>
            <a:r>
              <a:rPr lang="en-US" sz="1400" b="1" dirty="0">
                <a:solidFill>
                  <a:srgbClr val="125E4B"/>
                </a:solidFill>
              </a:rPr>
              <a:t>event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ata</a:t>
            </a:r>
            <a:r>
              <a:rPr lang="en-US" sz="1400" dirty="0">
                <a:solidFill>
                  <a:srgbClr val="125E4B"/>
                </a:solidFill>
              </a:rPr>
              <a:t> reported by </a:t>
            </a:r>
            <a:r>
              <a:rPr lang="en-US" sz="1400" b="1" dirty="0">
                <a:solidFill>
                  <a:srgbClr val="125E4B"/>
                </a:solidFill>
              </a:rPr>
              <a:t>carriers</a:t>
            </a:r>
            <a:r>
              <a:rPr lang="en-US" sz="1400" dirty="0">
                <a:solidFill>
                  <a:srgbClr val="125E4B"/>
                </a:solidFill>
              </a:rPr>
              <a:t> throughout the shipment proces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90484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3F06C-DCEA-19CE-2CF3-D5856DE3BC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C25BFD-896D-4814-FF51-CE1C14157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C25BFD-896D-4814-FF51-CE1C14157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5D7BE7D-5D25-B054-522C-25670EAD9AB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Quantitative Evaluation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36E60F9-6B75-01D2-2063-864A52EC68D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AD74106-42DD-8B7D-A03D-BE4902E71F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908628"/>
              </p:ext>
            </p:extLst>
          </p:nvPr>
        </p:nvGraphicFramePr>
        <p:xfrm>
          <a:off x="342897" y="897032"/>
          <a:ext cx="8455822" cy="148336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113954">
                  <a:extLst>
                    <a:ext uri="{9D8B030D-6E8A-4147-A177-3AD203B41FA5}">
                      <a16:colId xmlns:a16="http://schemas.microsoft.com/office/drawing/2014/main" val="770372340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6763182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353527839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3291393602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88053736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615862075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2756556293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Operational Stag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Sharpness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Coverage (%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Interval Score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76173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288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Disp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1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2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28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4.22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4.2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520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Shipment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0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18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2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84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4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6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15230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72F7656-F462-5B68-A82B-02C0D0E9D6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774627"/>
              </p:ext>
            </p:extLst>
          </p:nvPr>
        </p:nvGraphicFramePr>
        <p:xfrm>
          <a:off x="342897" y="2963010"/>
          <a:ext cx="8455822" cy="148336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113954">
                  <a:extLst>
                    <a:ext uri="{9D8B030D-6E8A-4147-A177-3AD203B41FA5}">
                      <a16:colId xmlns:a16="http://schemas.microsoft.com/office/drawing/2014/main" val="770372340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6763182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353527839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3291393602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88053736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615862075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2756556293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Operational Stag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Sharpness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Coverage (%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Interval Score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76173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288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Disp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87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3.0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7.81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7.44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520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Shipment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3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5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6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8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99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2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1523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9694C4E-5D68-BC16-F60F-2033F2CDCBFC}"/>
              </a:ext>
            </a:extLst>
          </p:cNvPr>
          <p:cNvSpPr txBox="1"/>
          <p:nvPr/>
        </p:nvSpPr>
        <p:spPr>
          <a:xfrm>
            <a:off x="342897" y="2387882"/>
            <a:ext cx="8455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+mn-lt"/>
              </a:rPr>
              <a:t>Training Set </a:t>
            </a:r>
            <a:r>
              <a:rPr lang="en-US" dirty="0">
                <a:latin typeface="+mn-lt"/>
              </a:rPr>
              <a:t>– 90% Confide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1DC066-9E16-A589-C36A-9C4C2129659D}"/>
              </a:ext>
            </a:extLst>
          </p:cNvPr>
          <p:cNvSpPr txBox="1"/>
          <p:nvPr/>
        </p:nvSpPr>
        <p:spPr>
          <a:xfrm>
            <a:off x="342897" y="4446370"/>
            <a:ext cx="8455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st Set </a:t>
            </a:r>
            <a:r>
              <a:rPr lang="en-US" dirty="0">
                <a:latin typeface="+mn-lt"/>
                <a:cs typeface="Arial" panose="020B0604020202020204" pitchFamily="34" charset="0"/>
              </a:rPr>
              <a:t>– 90% Confidence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96732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E7D01-FC34-4741-9E60-C2DD6A6EA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3FB26E9-0393-602B-29BC-44A9B0293C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FB26E9-0393-602B-29BC-44A9B0293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371AF76-B264-C5CE-DF8D-B481729689D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Sensitivity Analysi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7C7BADD-02DC-19C8-B047-345345EC9E6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B5721CD3-DA53-055C-22D4-D879319B7B3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7" y="1191986"/>
            <a:ext cx="3290477" cy="27215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 lnSpcReduction="1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Evaluation</a:t>
            </a:r>
          </a:p>
        </p:txBody>
      </p:sp>
      <p:sp>
        <p:nvSpPr>
          <p:cNvPr id="23" name="Google Shape;703;p114">
            <a:extLst>
              <a:ext uri="{FF2B5EF4-FFF2-40B4-BE49-F238E27FC236}">
                <a16:creationId xmlns:a16="http://schemas.microsoft.com/office/drawing/2014/main" id="{3FD96F95-76E7-B504-763D-989865E818A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7" y="1874314"/>
            <a:ext cx="3290477" cy="1635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Coverage</a:t>
            </a:r>
            <a:r>
              <a:rPr lang="en-US" sz="1200" dirty="0"/>
              <a:t> assessed on the test set across multiple nominal confidence levels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Hour-resolution</a:t>
            </a:r>
            <a:r>
              <a:rPr lang="en-US" sz="1200" dirty="0"/>
              <a:t> estimates show </a:t>
            </a:r>
            <a:r>
              <a:rPr lang="en-US" sz="1200" b="1" dirty="0"/>
              <a:t>under-reliability</a:t>
            </a:r>
            <a:r>
              <a:rPr lang="en-US" sz="1200" noProof="1"/>
              <a:t>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Day-resolution</a:t>
            </a:r>
            <a:r>
              <a:rPr lang="en-US" sz="1200" dirty="0"/>
              <a:t> estimates show </a:t>
            </a:r>
            <a:r>
              <a:rPr lang="en-US" sz="1200" b="1" dirty="0"/>
              <a:t>over-reliability</a:t>
            </a:r>
            <a:r>
              <a:rPr lang="en-US" sz="1200" dirty="0"/>
              <a:t> up to a nominal confidence of 0.85</a:t>
            </a:r>
            <a:endParaRPr lang="en-US" sz="1200" noProof="1"/>
          </a:p>
        </p:txBody>
      </p:sp>
      <p:pic>
        <p:nvPicPr>
          <p:cNvPr id="6" name="Picture 5" descr="A graph showing the difference between coverage and confidence&#10;&#10;AI-generated content may be incorrect.">
            <a:extLst>
              <a:ext uri="{FF2B5EF4-FFF2-40B4-BE49-F238E27FC236}">
                <a16:creationId xmlns:a16="http://schemas.microsoft.com/office/drawing/2014/main" id="{569BF9CA-F849-AD2D-763A-D28D64E99A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19661" y="921634"/>
            <a:ext cx="4979058" cy="35358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43412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1C295F-3EFC-91B5-9CD1-BF4E92431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6EF799-9988-A2D0-7622-9BB50B89FE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F799-9988-A2D0-7622-9BB50B89F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F500775-1D8F-CDD6-B466-B4B3A331BED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1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34FBD1BE-CB57-526F-8F67-F3AFA893284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AD50AC-73EB-D568-5F93-5DECB781B29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44090" y="1049989"/>
            <a:ext cx="8455820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47890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72C0A-ECE6-2A0B-D1E3-43F7DBCA6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1689BF8-A5E5-4BBD-8CA8-C25CF5EDB9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89BF8-A5E5-4BBD-8CA8-C25CF5EDB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B81E6E2-CF94-4449-C960-1F9E976FE5F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2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D707445-7EF8-83E6-9AAF-97F53E3D212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BD84D1-3AA3-30A1-EC95-1EFDDDDB47E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44091" y="1049989"/>
            <a:ext cx="8455817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11810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F7143-606B-34A8-3D16-6C5E3F313A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62635F-FFCE-73D3-2B74-995E4CFE52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62635F-FFCE-73D3-2B74-995E4CFE5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5CC3917-E6B1-7AEC-46BC-9218FE00B24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3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4AFD825-0906-A571-B75D-22702577DC1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4004EB-A736-6841-971E-E8B204702A9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51220" y="1049989"/>
            <a:ext cx="8441558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90407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E30439A-8A5B-46EC-8283-9B6B031D4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EB6AE3-BD3E-FF03-AC80-8991E204E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148" y="614238"/>
            <a:ext cx="494718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kern="1200" dirty="0">
                <a:solidFill>
                  <a:srgbClr val="FFFFFF"/>
                </a:solidFill>
                <a:ea typeface="+mj-ea"/>
                <a:cs typeface="+mj-cs"/>
              </a:rPr>
              <a:t>M4ESTRO Project Overvie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947E58-F088-49F1-A3D1-DEA690192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3879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9A378-AE84-5974-B946-54EE15932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BF12B5-ACBD-440A-5C4C-BF9B3E4059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BF12B5-ACBD-440A-5C4C-BF9B3E405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CF25C0F-F726-F253-6D0F-CB17BFAF9AA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4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0894408-F18A-DADC-4396-FEDBC4A5C34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F64FC5-BA6E-EB5B-BF30-A2D122DB6DE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51220" y="1049989"/>
            <a:ext cx="8441558" cy="36065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25129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347EED-37ED-2585-953B-741352181D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D6D881-88FD-F377-B0A8-7140E2135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D6D881-88FD-F377-B0A8-7140E21355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BE45F8C-B7D5-F2FF-6752-23F6A8D511B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5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6659667-CD39-B4E0-C8D7-4FE47C902EB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B9AD5982-BB24-055F-9ED4-AB2A8B5B42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090" y="1046943"/>
            <a:ext cx="8455820" cy="36126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53558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340B8E-4F3B-6EC4-684F-DE25CFE5D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5C7B71F-C95B-CE88-8BA6-EF91CC574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48CE2D-5085-47DB-B640-03F56DB97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2DB5613-ADF6-71F0-B999-EE66DD3BC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027F13-8D74-1643-FF4C-F18A7454E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A1B3A8-FACA-78F5-97BD-063CC01C3A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972D06-0C49-2507-C9D8-2EDC40BEE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Conclusion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4EF8E9-0473-F282-8D8F-2EA29FDE18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61A744-E111-BEEC-FF93-06994C30B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0364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11061E-0A36-AF68-D649-7EF2E7A35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9209419-1C1C-F25B-B14B-B3CE84BDCA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09419-1C1C-F25B-B14B-B3CE84BDC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DB16428-270F-F2F0-81D5-1B7CEA169F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Future Development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88DD68A-EC68-5989-A825-FB2202890DD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conclusion</a:t>
            </a:r>
          </a:p>
        </p:txBody>
      </p:sp>
      <p:sp>
        <p:nvSpPr>
          <p:cNvPr id="9" name="Google Shape;10527;p9415">
            <a:extLst>
              <a:ext uri="{FF2B5EF4-FFF2-40B4-BE49-F238E27FC236}">
                <a16:creationId xmlns:a16="http://schemas.microsoft.com/office/drawing/2014/main" id="{FED43921-0D92-B24B-ACD0-C602B78AE93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9" y="1083603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Data Expans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0C8DA2-D96F-A7E0-00E6-550064277A86}"/>
              </a:ext>
            </a:extLst>
          </p:cNvPr>
          <p:cNvSpPr txBox="1"/>
          <p:nvPr/>
        </p:nvSpPr>
        <p:spPr>
          <a:xfrm>
            <a:off x="342899" y="1387405"/>
            <a:ext cx="4441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200" b="1" dirty="0">
                <a:latin typeface="+mn-lt"/>
              </a:rPr>
              <a:t>Expand</a:t>
            </a:r>
            <a:r>
              <a:rPr lang="en-US" sz="1200" dirty="0">
                <a:latin typeface="+mn-lt"/>
              </a:rPr>
              <a:t> the </a:t>
            </a:r>
            <a:r>
              <a:rPr lang="en-US" sz="1200" b="1" dirty="0">
                <a:latin typeface="+mn-lt"/>
              </a:rPr>
              <a:t>dataset</a:t>
            </a:r>
            <a:r>
              <a:rPr lang="en-US" sz="1200" dirty="0">
                <a:latin typeface="+mn-lt"/>
              </a:rPr>
              <a:t> and refine all data-driven components to improve </a:t>
            </a:r>
            <a:r>
              <a:rPr lang="en-US" sz="1200" b="1" dirty="0">
                <a:latin typeface="+mn-lt"/>
              </a:rPr>
              <a:t>calibration</a:t>
            </a:r>
            <a:r>
              <a:rPr lang="en-US" sz="1200" dirty="0">
                <a:latin typeface="+mn-lt"/>
              </a:rPr>
              <a:t>, enhance indicators and increase </a:t>
            </a:r>
            <a:r>
              <a:rPr lang="en-US" sz="1200" b="1" dirty="0">
                <a:latin typeface="+mn-lt"/>
              </a:rPr>
              <a:t>reliability</a:t>
            </a:r>
            <a:r>
              <a:rPr lang="en-US" sz="1200" dirty="0">
                <a:latin typeface="+mn-lt"/>
              </a:rPr>
              <a:t> of predictions.</a:t>
            </a:r>
            <a:endParaRPr lang="en-US" altLang="en-US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FE4029-C68B-E67B-9714-7B0F2A73FBAC}"/>
              </a:ext>
            </a:extLst>
          </p:cNvPr>
          <p:cNvSpPr txBox="1"/>
          <p:nvPr/>
        </p:nvSpPr>
        <p:spPr>
          <a:xfrm>
            <a:off x="342899" y="3829064"/>
            <a:ext cx="4288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xtend framework to support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ultiple</a:t>
            </a: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nufacturers</a:t>
            </a: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more complex operational contexts.</a:t>
            </a:r>
          </a:p>
        </p:txBody>
      </p:sp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1E2E6BDE-BA93-E7BB-FF3D-FC4E28157A0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3528783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Multi-Manufacturer Extens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BC562EF-8E43-7AF4-B5BA-AB751D9ECAF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915892" y="1"/>
            <a:ext cx="3228108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400" b="1" dirty="0">
                <a:solidFill>
                  <a:srgbClr val="125E4B"/>
                </a:solidFill>
              </a:rPr>
              <a:t>Futur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evelopment</a:t>
            </a:r>
            <a:r>
              <a:rPr lang="en-US" sz="1400" dirty="0">
                <a:solidFill>
                  <a:srgbClr val="125E4B"/>
                </a:solidFill>
              </a:rPr>
              <a:t> should focus on acquiring more </a:t>
            </a:r>
            <a:r>
              <a:rPr lang="en-US" sz="1400" b="1" dirty="0">
                <a:solidFill>
                  <a:srgbClr val="125E4B"/>
                </a:solidFill>
              </a:rPr>
              <a:t>data</a:t>
            </a:r>
            <a:r>
              <a:rPr lang="en-US" sz="1400" dirty="0">
                <a:solidFill>
                  <a:srgbClr val="125E4B"/>
                </a:solidFill>
              </a:rPr>
              <a:t> to </a:t>
            </a:r>
            <a:r>
              <a:rPr lang="en-US" sz="1400" b="1" dirty="0">
                <a:solidFill>
                  <a:srgbClr val="125E4B"/>
                </a:solidFill>
              </a:rPr>
              <a:t>improv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calibration</a:t>
            </a:r>
            <a:r>
              <a:rPr lang="en-US" sz="1400" dirty="0">
                <a:solidFill>
                  <a:srgbClr val="125E4B"/>
                </a:solidFill>
              </a:rPr>
              <a:t> and support the implementation of more sophisticated solutions for specific </a:t>
            </a:r>
            <a:r>
              <a:rPr lang="en-US" sz="1400" b="1" dirty="0">
                <a:solidFill>
                  <a:srgbClr val="125E4B"/>
                </a:solidFill>
              </a:rPr>
              <a:t>indicators</a:t>
            </a:r>
            <a:r>
              <a:rPr lang="en-US" sz="1400" dirty="0">
                <a:solidFill>
                  <a:srgbClr val="125E4B"/>
                </a:solidFill>
              </a:rPr>
              <a:t>.</a:t>
            </a:r>
            <a:endParaRPr lang="en-US" altLang="en-US" sz="1400" dirty="0">
              <a:solidFill>
                <a:srgbClr val="125E4B"/>
              </a:solidFill>
            </a:endParaRPr>
          </a:p>
        </p:txBody>
      </p:sp>
      <p:sp>
        <p:nvSpPr>
          <p:cNvPr id="14" name="Google Shape;10527;p9415">
            <a:extLst>
              <a:ext uri="{FF2B5EF4-FFF2-40B4-BE49-F238E27FC236}">
                <a16:creationId xmlns:a16="http://schemas.microsoft.com/office/drawing/2014/main" id="{5E852576-BFB6-CF35-9737-ACDA80B0ED9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2334017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Refinement of Indicators Implementat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C9369-D904-39A5-5C08-C395E2DF01DB}"/>
              </a:ext>
            </a:extLst>
          </p:cNvPr>
          <p:cNvSpPr txBox="1"/>
          <p:nvPr/>
        </p:nvSpPr>
        <p:spPr>
          <a:xfrm>
            <a:off x="342899" y="2634298"/>
            <a:ext cx="4441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Implement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and validate more advanced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solutions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for specific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indicators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90295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B0C8153-69C7-32BB-73F9-B93CD93E0B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945475"/>
            <a:ext cx="8455914" cy="32525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00" dirty="0"/>
              <a:t>L. R. Ford and D. R. Fulkerson, “Maximal flow through a network,” Canadian Journal of Mathematics, vol. 8, no. 3, pp. 399–404, 1956.</a:t>
            </a:r>
          </a:p>
          <a:p>
            <a:pPr marL="0" indent="0">
              <a:buNone/>
            </a:pPr>
            <a:r>
              <a:rPr lang="en-US" sz="1200" dirty="0"/>
              <a:t>J. R. Norris, Markov Chains. Cambridge University Press, 1998.</a:t>
            </a:r>
          </a:p>
          <a:p>
            <a:pPr marL="0" indent="0">
              <a:buNone/>
            </a:pPr>
            <a:r>
              <a:rPr lang="en-US" sz="1200" dirty="0"/>
              <a:t>G. Grimmett and D. </a:t>
            </a:r>
            <a:r>
              <a:rPr lang="en-US" sz="1200" dirty="0" err="1"/>
              <a:t>Stirzaker</a:t>
            </a:r>
            <a:r>
              <a:rPr lang="en-US" sz="1200" dirty="0"/>
              <a:t>, Probability and Random Processes, 3rd.Oxford University Press, 2001.</a:t>
            </a:r>
          </a:p>
          <a:p>
            <a:pPr marL="0" indent="0">
              <a:buNone/>
            </a:pPr>
            <a:r>
              <a:rPr lang="en-US" sz="1200" dirty="0"/>
              <a:t>A. V. Hill, J. M. Hays, and E. Naveh, “A model for optimal delivery time guarantees,” Journal of service research, vol. 2, no. 3, pp. 254–264, 2000</a:t>
            </a:r>
          </a:p>
          <a:p>
            <a:pPr marL="0" indent="0">
              <a:buNone/>
            </a:pPr>
            <a:r>
              <a:rPr lang="en-US" sz="1200" dirty="0"/>
              <a:t>T. Gneiting and A. E. Raftery, “Strictly proper scoring rules, prediction and estimation,” Journal of the American Statistical Association, vol. 102,no. 477, pp. 359–378, 2007.</a:t>
            </a:r>
          </a:p>
          <a:p>
            <a:pPr marL="0" indent="0">
              <a:buNone/>
            </a:pPr>
            <a:r>
              <a:rPr lang="en-US" sz="1200" dirty="0"/>
              <a:t>Y. Huang, A. Bárdossy, and K. Zhang, “Sensitivity of hydrological models to temporal and spatial resolutions of rainfall data,” Hydrology and Earth System Sciences, vol. 23, no. 6, pp. 2647–2663, 2019.</a:t>
            </a:r>
          </a:p>
          <a:p>
            <a:pPr marL="0" indent="0">
              <a:buNone/>
            </a:pPr>
            <a:endParaRPr lang="en-US" sz="11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8D6EC1-BF1D-A621-322A-05DFF5C4A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err="1"/>
              <a:t>Referenc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AF5DCA-B37B-E87A-6B29-7F5A9DF08E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it-IT" sz="1000" dirty="0"/>
              <a:t>CONCLUSION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94329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2F252E-B8A8-CBB2-BCEE-7A4EB3147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BBC862-44E0-450F-97C2-A0022FA64CB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441841" y="3888539"/>
            <a:ext cx="5358068" cy="754981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buClrTx/>
            </a:pPr>
            <a:r>
              <a:rPr lang="en-US" sz="1400" noProof="1">
                <a:solidFill>
                  <a:srgbClr val="125E4B"/>
                </a:solidFill>
              </a:rPr>
              <a:t>Industrial </a:t>
            </a:r>
            <a:r>
              <a:rPr lang="en-US" sz="1400" b="1" noProof="1">
                <a:solidFill>
                  <a:srgbClr val="125E4B"/>
                </a:solidFill>
              </a:rPr>
              <a:t>M</a:t>
            </a:r>
            <a:r>
              <a:rPr lang="en-US" sz="1400" noProof="1">
                <a:solidFill>
                  <a:srgbClr val="125E4B"/>
                </a:solidFill>
              </a:rPr>
              <a:t>anufacturing </a:t>
            </a:r>
            <a:r>
              <a:rPr lang="en-US" sz="1400" b="1" noProof="1">
                <a:solidFill>
                  <a:srgbClr val="125E4B"/>
                </a:solidFill>
              </a:rPr>
              <a:t>A</a:t>
            </a:r>
            <a:r>
              <a:rPr lang="en-US" sz="1400" noProof="1">
                <a:solidFill>
                  <a:srgbClr val="125E4B"/>
                </a:solidFill>
              </a:rPr>
              <a:t>s a s</a:t>
            </a:r>
            <a:r>
              <a:rPr lang="en-US" sz="1400" b="1" noProof="1">
                <a:solidFill>
                  <a:srgbClr val="125E4B"/>
                </a:solidFill>
              </a:rPr>
              <a:t>E</a:t>
            </a:r>
            <a:r>
              <a:rPr lang="en-US" sz="1400" noProof="1">
                <a:solidFill>
                  <a:srgbClr val="125E4B"/>
                </a:solidFill>
              </a:rPr>
              <a:t>rvice </a:t>
            </a:r>
            <a:r>
              <a:rPr lang="en-US" sz="1400" b="1" noProof="1">
                <a:solidFill>
                  <a:srgbClr val="125E4B"/>
                </a:solidFill>
              </a:rPr>
              <a:t>STR</a:t>
            </a:r>
            <a:r>
              <a:rPr lang="en-US" sz="1400" noProof="1">
                <a:solidFill>
                  <a:srgbClr val="125E4B"/>
                </a:solidFill>
              </a:rPr>
              <a:t>ategies and models for flexible, resilient, and re-configurable value networks through Trusted and Transparent </a:t>
            </a:r>
            <a:r>
              <a:rPr lang="en-US" sz="1400" b="1" noProof="1">
                <a:solidFill>
                  <a:srgbClr val="125E4B"/>
                </a:solidFill>
              </a:rPr>
              <a:t>O</a:t>
            </a:r>
            <a:r>
              <a:rPr lang="en-US" sz="1400" noProof="1">
                <a:solidFill>
                  <a:srgbClr val="125E4B"/>
                </a:solidFill>
              </a:rPr>
              <a:t>perations.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A70D54-793F-BAE0-0264-E121201229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A70D54-793F-BAE0-0264-E12120122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001709D-A6FA-5B1B-1F83-01121FE0975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44090" y="409323"/>
            <a:ext cx="8455914" cy="370332"/>
          </a:xfrm>
        </p:spPr>
        <p:txBody>
          <a:bodyPr vert="horz" lIns="0" tIns="34290" rIns="0" bIns="3429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Motivation &amp; Purpos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394D4F8-7D33-0AF5-B470-5F94B8FFD1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090" y="224806"/>
            <a:ext cx="8455819" cy="218980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M4ESTRO Project OVERVIEW</a:t>
            </a:r>
          </a:p>
        </p:txBody>
      </p:sp>
      <p:sp>
        <p:nvSpPr>
          <p:cNvPr id="19" name="Google Shape;703;p114">
            <a:extLst>
              <a:ext uri="{FF2B5EF4-FFF2-40B4-BE49-F238E27FC236}">
                <a16:creationId xmlns:a16="http://schemas.microsoft.com/office/drawing/2014/main" id="{D7A388C2-5178-F8F6-FC2E-4B2696FA93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4089" y="1391215"/>
            <a:ext cx="2260317" cy="224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Global</a:t>
            </a:r>
            <a:r>
              <a:rPr lang="en-US" sz="1200" dirty="0"/>
              <a:t> </a:t>
            </a:r>
            <a:r>
              <a:rPr lang="en-US" sz="1200" b="1" dirty="0"/>
              <a:t>disruptions</a:t>
            </a:r>
            <a:r>
              <a:rPr lang="en-US" sz="1200" dirty="0"/>
              <a:t> (pandemics, conflicts, climate events) expose the fragility of </a:t>
            </a:r>
            <a:r>
              <a:rPr lang="en-US" sz="1200" b="1" dirty="0"/>
              <a:t>manufacturers</a:t>
            </a:r>
            <a:r>
              <a:rPr lang="en-US" sz="1200" dirty="0"/>
              <a:t>’ </a:t>
            </a:r>
            <a:r>
              <a:rPr lang="en-US" sz="1200" b="1" dirty="0"/>
              <a:t>supply</a:t>
            </a:r>
            <a:r>
              <a:rPr lang="en-US" sz="1200" dirty="0"/>
              <a:t> </a:t>
            </a:r>
            <a:r>
              <a:rPr lang="en-US" sz="1200" b="1" dirty="0"/>
              <a:t>chains</a:t>
            </a:r>
            <a:r>
              <a:rPr lang="en-US" sz="1200" dirty="0"/>
              <a:t>.  </a:t>
            </a:r>
          </a:p>
          <a:p>
            <a:pPr>
              <a:spcAft>
                <a:spcPts val="600"/>
              </a:spcAft>
              <a:buClrTx/>
            </a:pPr>
            <a:endParaRPr lang="en-US" sz="1200" noProof="1"/>
          </a:p>
          <a:p>
            <a:pPr>
              <a:spcAft>
                <a:spcPts val="600"/>
              </a:spcAft>
              <a:buClrTx/>
            </a:pPr>
            <a:r>
              <a:rPr lang="en-US" sz="1200" b="1" dirty="0"/>
              <a:t>Resilience</a:t>
            </a:r>
            <a:r>
              <a:rPr lang="en-US" sz="1200" dirty="0"/>
              <a:t> and </a:t>
            </a:r>
            <a:r>
              <a:rPr lang="en-US" sz="1200" b="1" dirty="0"/>
              <a:t>adaptability</a:t>
            </a:r>
            <a:r>
              <a:rPr lang="en-US" sz="1200" dirty="0"/>
              <a:t> are now essential to ensure continuity and competitiveness.</a:t>
            </a:r>
            <a:endParaRPr lang="en-US" sz="1200" noProof="1"/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05B34B5C-F3DC-ABEA-D028-F144CEDF9F7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4089" y="964172"/>
            <a:ext cx="2260317" cy="3308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Motivation</a:t>
            </a:r>
          </a:p>
        </p:txBody>
      </p:sp>
      <p:sp>
        <p:nvSpPr>
          <p:cNvPr id="7" name="Google Shape;703;p114">
            <a:extLst>
              <a:ext uri="{FF2B5EF4-FFF2-40B4-BE49-F238E27FC236}">
                <a16:creationId xmlns:a16="http://schemas.microsoft.com/office/drawing/2014/main" id="{FEF75950-A634-3B8C-6DA8-61B651DBBF7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01050" y="3933936"/>
            <a:ext cx="3826826" cy="2134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endParaRPr lang="en-US" sz="1200" noProof="1"/>
          </a:p>
        </p:txBody>
      </p:sp>
      <p:sp>
        <p:nvSpPr>
          <p:cNvPr id="9" name="Google Shape;703;p114">
            <a:extLst>
              <a:ext uri="{FF2B5EF4-FFF2-40B4-BE49-F238E27FC236}">
                <a16:creationId xmlns:a16="http://schemas.microsoft.com/office/drawing/2014/main" id="{4D466AA9-46EB-487D-C68A-3C9E2C1C7C1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441841" y="1391215"/>
            <a:ext cx="2260317" cy="224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M4ESTRO</a:t>
            </a:r>
            <a:r>
              <a:rPr lang="en-US" sz="1200" dirty="0"/>
              <a:t> is a European project uniting </a:t>
            </a:r>
            <a:r>
              <a:rPr lang="en-US" sz="1200" b="1" dirty="0"/>
              <a:t>18 partners </a:t>
            </a:r>
            <a:r>
              <a:rPr lang="en-US" sz="1200" dirty="0"/>
              <a:t>from 8 countries, including industrial pilots, technology providers and research institutions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dirty="0"/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dirty="0"/>
              <a:t>Launched on 1 December 2023, </a:t>
            </a:r>
            <a:r>
              <a:rPr lang="en-US" sz="1200" b="1" dirty="0"/>
              <a:t>duration</a:t>
            </a:r>
            <a:r>
              <a:rPr lang="en-US" sz="1200" dirty="0"/>
              <a:t> of </a:t>
            </a:r>
            <a:r>
              <a:rPr lang="en-US" sz="1200" b="1" dirty="0"/>
              <a:t>42 months</a:t>
            </a:r>
            <a:r>
              <a:rPr lang="en-US" sz="1200" dirty="0"/>
              <a:t>.</a:t>
            </a:r>
            <a:endParaRPr lang="en-US" sz="1200" noProof="1"/>
          </a:p>
        </p:txBody>
      </p:sp>
      <p:sp>
        <p:nvSpPr>
          <p:cNvPr id="10" name="Google Shape;10527;p9415">
            <a:extLst>
              <a:ext uri="{FF2B5EF4-FFF2-40B4-BE49-F238E27FC236}">
                <a16:creationId xmlns:a16="http://schemas.microsoft.com/office/drawing/2014/main" id="{891D8F5C-6869-CC2D-4AD8-2D342924BFB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441841" y="964172"/>
            <a:ext cx="2260317" cy="3308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roject</a:t>
            </a:r>
          </a:p>
        </p:txBody>
      </p:sp>
      <p:sp>
        <p:nvSpPr>
          <p:cNvPr id="11" name="Google Shape;703;p114">
            <a:extLst>
              <a:ext uri="{FF2B5EF4-FFF2-40B4-BE49-F238E27FC236}">
                <a16:creationId xmlns:a16="http://schemas.microsoft.com/office/drawing/2014/main" id="{FB858ED7-0553-CF0D-5733-57D46EA7CB6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539592" y="1391215"/>
            <a:ext cx="2260317" cy="224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noProof="1"/>
              <a:t>Develop a resilient, transparent, and adaptive ecosystem under the </a:t>
            </a:r>
            <a:r>
              <a:rPr lang="en-US" sz="1200" b="1" noProof="1"/>
              <a:t>Manufacturing-as-a-Service (MaaS)</a:t>
            </a:r>
            <a:r>
              <a:rPr lang="en-US" sz="1200" noProof="1"/>
              <a:t> paradigm, enhancing supply chain flexibility and robustness.</a:t>
            </a:r>
          </a:p>
        </p:txBody>
      </p:sp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C5D7B991-1930-D77C-EF23-75A217CA3F4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539592" y="964172"/>
            <a:ext cx="2260317" cy="3308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Goals</a:t>
            </a:r>
          </a:p>
        </p:txBody>
      </p:sp>
      <p:pic>
        <p:nvPicPr>
          <p:cNvPr id="14" name="Picture 2" descr="M4estro - Holonix Research">
            <a:extLst>
              <a:ext uri="{FF2B5EF4-FFF2-40B4-BE49-F238E27FC236}">
                <a16:creationId xmlns:a16="http://schemas.microsoft.com/office/drawing/2014/main" id="{03043BEC-932D-C6E1-66B4-8F614ED896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98" b="31155"/>
          <a:stretch>
            <a:fillRect/>
          </a:stretch>
        </p:blipFill>
        <p:spPr bwMode="auto">
          <a:xfrm>
            <a:off x="456050" y="3966709"/>
            <a:ext cx="2036393" cy="598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8409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DAD76-15D9-0E05-1ABA-D176EF013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9316493-2178-0345-7340-2CBF154BEC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316493-2178-0345-7340-2CBF154BEC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DF42A8-4AC3-0777-36D0-47F7222ECC1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Key Contributions</a:t>
            </a:r>
          </a:p>
        </p:txBody>
      </p:sp>
      <p:sp>
        <p:nvSpPr>
          <p:cNvPr id="13" name="Google Shape;703;p114">
            <a:extLst>
              <a:ext uri="{FF2B5EF4-FFF2-40B4-BE49-F238E27FC236}">
                <a16:creationId xmlns:a16="http://schemas.microsoft.com/office/drawing/2014/main" id="{A94A066C-B47A-7B9A-8034-FADB936DC50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0700" y="898731"/>
            <a:ext cx="5212773" cy="688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400" noProof="1"/>
              <a:t>Supply Chain Modeling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200" b="1" noProof="1"/>
          </a:p>
          <a:p>
            <a:pPr>
              <a:spcAft>
                <a:spcPts val="300"/>
              </a:spcAft>
            </a:pPr>
            <a:r>
              <a:rPr lang="en-US" sz="1200" b="1" noProof="1"/>
              <a:t>Mathematical</a:t>
            </a:r>
            <a:r>
              <a:rPr lang="en-US" sz="1200" noProof="1"/>
              <a:t> </a:t>
            </a:r>
            <a:r>
              <a:rPr lang="en-US" sz="1200" b="1" noProof="1"/>
              <a:t>framework</a:t>
            </a:r>
            <a:r>
              <a:rPr lang="en-US" sz="1200" noProof="1"/>
              <a:t> for modeling a single-manufacturer </a:t>
            </a:r>
            <a:r>
              <a:rPr lang="en-US" sz="1200" b="1" noProof="1"/>
              <a:t>supply</a:t>
            </a:r>
            <a:r>
              <a:rPr lang="en-US" sz="1200" noProof="1"/>
              <a:t> </a:t>
            </a:r>
            <a:r>
              <a:rPr lang="en-US" sz="1200" b="1" noProof="1"/>
              <a:t>chain</a:t>
            </a:r>
            <a:r>
              <a:rPr lang="en-US" sz="1200" noProof="1"/>
              <a:t>.</a:t>
            </a:r>
          </a:p>
        </p:txBody>
      </p:sp>
      <p:sp>
        <p:nvSpPr>
          <p:cNvPr id="17" name="Google Shape;703;p114">
            <a:extLst>
              <a:ext uri="{FF2B5EF4-FFF2-40B4-BE49-F238E27FC236}">
                <a16:creationId xmlns:a16="http://schemas.microsoft.com/office/drawing/2014/main" id="{AE993CA0-4428-F18A-5DAE-E74B6329686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1836" y="1926833"/>
            <a:ext cx="5230499" cy="1389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400" noProof="1"/>
              <a:t>Indicators Design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200" noProof="1"/>
          </a:p>
          <a:p>
            <a:pPr>
              <a:spcAft>
                <a:spcPts val="300"/>
              </a:spcAft>
            </a:pPr>
            <a:r>
              <a:rPr lang="en-US" sz="1200" noProof="1"/>
              <a:t>Indicators to quantify: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Dispatch</a:t>
            </a:r>
            <a:r>
              <a:rPr lang="en-US" sz="1200" noProof="1"/>
              <a:t> and </a:t>
            </a:r>
            <a:r>
              <a:rPr lang="en-US" sz="1200" b="1" noProof="1"/>
              <a:t>shipment process</a:t>
            </a:r>
            <a:r>
              <a:rPr lang="en-US" sz="1200" noProof="1"/>
              <a:t> </a:t>
            </a:r>
            <a:r>
              <a:rPr lang="en-US" sz="1200" b="1" noProof="1"/>
              <a:t>durations</a:t>
            </a:r>
            <a:r>
              <a:rPr lang="en-US" sz="1200" noProof="1"/>
              <a:t>.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Real-time</a:t>
            </a:r>
            <a:r>
              <a:rPr lang="en-US" sz="1200" dirty="0"/>
              <a:t> </a:t>
            </a:r>
            <a:r>
              <a:rPr lang="en-US" sz="1200" b="1" dirty="0"/>
              <a:t>traffic</a:t>
            </a:r>
            <a:r>
              <a:rPr lang="en-US" sz="1200" dirty="0"/>
              <a:t> and </a:t>
            </a:r>
            <a:r>
              <a:rPr lang="en-US" sz="1200" b="1" dirty="0"/>
              <a:t>weather</a:t>
            </a:r>
            <a:r>
              <a:rPr lang="en-US" sz="1200" dirty="0"/>
              <a:t> impacts on shipments</a:t>
            </a:r>
            <a:r>
              <a:rPr lang="en-US" sz="1200" noProof="1"/>
              <a:t>.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Effect of </a:t>
            </a:r>
            <a:r>
              <a:rPr lang="en-US" sz="1200" b="1" dirty="0"/>
              <a:t>national</a:t>
            </a:r>
            <a:r>
              <a:rPr lang="en-US" sz="1200" dirty="0"/>
              <a:t> </a:t>
            </a:r>
            <a:r>
              <a:rPr lang="en-US" sz="1200" b="1" dirty="0"/>
              <a:t>holidays</a:t>
            </a:r>
            <a:r>
              <a:rPr lang="en-US" sz="1200" dirty="0"/>
              <a:t> on dispatch processes</a:t>
            </a:r>
            <a:r>
              <a:rPr lang="en-US" sz="1200" noProof="1"/>
              <a:t>. 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3704EC4-7729-1A09-EA04-B29C752AEDF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M4ESTRO Project OVERVIEW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6123185-6003-6136-FD0F-8894AA7C0AF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57900" y="0"/>
            <a:ext cx="3086099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400" b="1" dirty="0">
                <a:solidFill>
                  <a:srgbClr val="125E4B"/>
                </a:solidFill>
              </a:rPr>
              <a:t>Disruption indicators</a:t>
            </a:r>
            <a:r>
              <a:rPr lang="en-US" sz="1400" dirty="0">
                <a:solidFill>
                  <a:srgbClr val="125E4B"/>
                </a:solidFill>
              </a:rPr>
              <a:t>: monitor operations, detect real-time anomalies, measure impacts and enable rapid responses.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sz="1400" dirty="0">
              <a:solidFill>
                <a:srgbClr val="125E4B"/>
              </a:solidFill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1400" b="1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400" dirty="0">
                <a:solidFill>
                  <a:srgbClr val="125E4B"/>
                </a:solidFill>
              </a:rPr>
              <a:t>Task 1.2: design </a:t>
            </a:r>
            <a:r>
              <a:rPr lang="en-US" sz="1400" b="1" dirty="0">
                <a:solidFill>
                  <a:srgbClr val="125E4B"/>
                </a:solidFill>
              </a:rPr>
              <a:t>indicators</a:t>
            </a:r>
            <a:r>
              <a:rPr lang="en-US" sz="1400" dirty="0">
                <a:solidFill>
                  <a:srgbClr val="125E4B"/>
                </a:solidFill>
              </a:rPr>
              <a:t> to </a:t>
            </a:r>
            <a:r>
              <a:rPr lang="en-US" sz="1400" b="1" dirty="0">
                <a:solidFill>
                  <a:srgbClr val="125E4B"/>
                </a:solidFill>
              </a:rPr>
              <a:t>detect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internal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isruptions</a:t>
            </a:r>
            <a:r>
              <a:rPr lang="en-US" sz="1400" dirty="0">
                <a:solidFill>
                  <a:srgbClr val="125E4B"/>
                </a:solidFill>
              </a:rPr>
              <a:t>, within a </a:t>
            </a:r>
            <a:r>
              <a:rPr lang="en-US" sz="1400" b="1" dirty="0">
                <a:solidFill>
                  <a:srgbClr val="125E4B"/>
                </a:solidFill>
              </a:rPr>
              <a:t>single-manufacturer</a:t>
            </a:r>
            <a:r>
              <a:rPr lang="en-US" sz="1400" dirty="0">
                <a:solidFill>
                  <a:srgbClr val="125E4B"/>
                </a:solidFill>
              </a:rPr>
              <a:t> supply chain.</a:t>
            </a:r>
            <a:endParaRPr lang="en-US" altLang="en-US" sz="1400" dirty="0">
              <a:solidFill>
                <a:srgbClr val="125E4B"/>
              </a:solidFill>
              <a:latin typeface="Arial" panose="020B0604020202020204" pitchFamily="34" charset="0"/>
            </a:endParaRPr>
          </a:p>
        </p:txBody>
      </p:sp>
      <p:sp>
        <p:nvSpPr>
          <p:cNvPr id="4" name="Google Shape;703;p114">
            <a:extLst>
              <a:ext uri="{FF2B5EF4-FFF2-40B4-BE49-F238E27FC236}">
                <a16:creationId xmlns:a16="http://schemas.microsoft.com/office/drawing/2014/main" id="{29D769E2-91C4-772B-AB37-79FB7310F51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69562" y="3647023"/>
            <a:ext cx="5230499" cy="989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400" noProof="1"/>
              <a:t>Prototype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200" dirty="0"/>
          </a:p>
          <a:p>
            <a:pPr>
              <a:spcAft>
                <a:spcPts val="300"/>
              </a:spcAft>
            </a:pPr>
            <a:r>
              <a:rPr lang="en-US" sz="1200" dirty="0"/>
              <a:t>Development of a </a:t>
            </a:r>
            <a:r>
              <a:rPr lang="en-US" sz="1200" b="1" dirty="0"/>
              <a:t>prototype</a:t>
            </a:r>
            <a:r>
              <a:rPr lang="en-US" sz="1200" dirty="0"/>
              <a:t> using pilot partner data and </a:t>
            </a:r>
            <a:r>
              <a:rPr lang="en-US" sz="1200" b="1" dirty="0"/>
              <a:t>deployment</a:t>
            </a:r>
            <a:r>
              <a:rPr lang="en-US" sz="1200" dirty="0"/>
              <a:t> on AWS cloud infrastructure.</a:t>
            </a:r>
            <a:endParaRPr lang="en-US" sz="1200" noProof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5E44ED-59CB-F060-5B03-E0A41F3C1F1B}"/>
              </a:ext>
            </a:extLst>
          </p:cNvPr>
          <p:cNvCxnSpPr>
            <a:cxnSpLocks/>
          </p:cNvCxnSpPr>
          <p:nvPr/>
        </p:nvCxnSpPr>
        <p:spPr>
          <a:xfrm>
            <a:off x="560700" y="1752173"/>
            <a:ext cx="521277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B34886E-677E-FB0C-EA92-5AEEAA61E384}"/>
              </a:ext>
            </a:extLst>
          </p:cNvPr>
          <p:cNvCxnSpPr>
            <a:cxnSpLocks/>
          </p:cNvCxnSpPr>
          <p:nvPr/>
        </p:nvCxnSpPr>
        <p:spPr>
          <a:xfrm>
            <a:off x="560700" y="3481854"/>
            <a:ext cx="521277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81465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8CB973C-83B9-F491-7B96-2D8E187A9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C3C76896-6A9C-B58E-4E38-6957E8E32E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D200BC-6D69-6A91-F437-2CD9517715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3EC4A72-5FF1-19CD-2009-578E3C927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AFEF3F-238F-A009-19EB-2E1FE47A21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3B61951-ECF3-90FD-8204-D82571FD56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14EB54-43AC-0AA4-CBAC-857FB6A0D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148" y="614238"/>
            <a:ext cx="494718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Dataset &amp; External Sources 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27224B-2318-0CC5-E5CA-4EBCF36695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E38A21-1D3C-AEDD-7F43-3C654159DB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979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113AB-884C-840A-2542-C46024546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4629A5A-FCEA-F23F-D5BF-BEEBCF2F893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0" y="411480"/>
            <a:ext cx="8455914" cy="371475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Pilot and Tracking Dat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E4F112-4AD8-316A-F6AE-633E5C19D0E3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384062" y="3094174"/>
            <a:ext cx="2536938" cy="1022054"/>
          </a:xfr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FAE Technology</a:t>
            </a:r>
            <a:r>
              <a:rPr lang="en-US" sz="1200" dirty="0"/>
              <a:t>, core dataset provider:  </a:t>
            </a:r>
            <a:r>
              <a:rPr lang="en-US" sz="1200" i="1" dirty="0"/>
              <a:t>one-hundred </a:t>
            </a:r>
            <a:r>
              <a:rPr lang="en-US" sz="1200" dirty="0"/>
              <a:t>order</a:t>
            </a:r>
            <a:r>
              <a:rPr lang="en-US" sz="1200" i="1" dirty="0"/>
              <a:t> records </a:t>
            </a:r>
            <a:r>
              <a:rPr lang="en-US" sz="1200" dirty="0"/>
              <a:t>with supplier locations, timestamps and tracking links.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2DF9DA3-3B8B-89A6-8461-9CFADD2C8C6A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380411" y="3097024"/>
            <a:ext cx="2427639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17Track API</a:t>
            </a:r>
            <a:r>
              <a:rPr lang="en-US" sz="1200" dirty="0"/>
              <a:t> to retrieve </a:t>
            </a:r>
            <a:r>
              <a:rPr lang="en-US" sz="1200" i="1" dirty="0"/>
              <a:t>shipment events</a:t>
            </a:r>
            <a:r>
              <a:rPr lang="en-US" sz="1200" dirty="0"/>
              <a:t> across multiple carriers, including </a:t>
            </a:r>
            <a:r>
              <a:rPr lang="en-US" sz="1200" i="1" dirty="0"/>
              <a:t>location</a:t>
            </a:r>
            <a:r>
              <a:rPr lang="en-US" sz="1200" dirty="0"/>
              <a:t>, </a:t>
            </a:r>
            <a:r>
              <a:rPr lang="en-US" sz="1200" i="1" dirty="0"/>
              <a:t>timestamp</a:t>
            </a:r>
            <a:r>
              <a:rPr lang="en-US" sz="1200" dirty="0"/>
              <a:t>, and </a:t>
            </a:r>
            <a:r>
              <a:rPr lang="en-US" sz="1200" i="1" dirty="0"/>
              <a:t>status</a:t>
            </a:r>
            <a:r>
              <a:rPr lang="en-US" sz="1200" dirty="0"/>
              <a:t>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62B3103-45FD-08E3-4121-98B691200FFA}"/>
              </a:ext>
            </a:extLst>
          </p:cNvPr>
          <p:cNvSpPr>
            <a:spLocks noGrp="1"/>
          </p:cNvSpPr>
          <p:nvPr>
            <p:ph sz="half" idx="16"/>
            <p:custDataLst>
              <p:tags r:id="rId5"/>
            </p:custDataLst>
          </p:nvPr>
        </p:nvSpPr>
        <p:spPr>
          <a:xfrm>
            <a:off x="6493823" y="3083801"/>
            <a:ext cx="2266115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 err="1"/>
              <a:t>Geonames</a:t>
            </a:r>
            <a:r>
              <a:rPr lang="en-US" sz="1200" b="1" dirty="0"/>
              <a:t> API </a:t>
            </a:r>
            <a:r>
              <a:rPr lang="en-US" sz="1200" dirty="0"/>
              <a:t>to</a:t>
            </a:r>
            <a:r>
              <a:rPr lang="en-US" sz="1200" b="1" dirty="0"/>
              <a:t> </a:t>
            </a:r>
            <a:r>
              <a:rPr lang="en-US" sz="1200" dirty="0"/>
              <a:t>standardize shipment events and supplier locations at a </a:t>
            </a:r>
            <a:r>
              <a:rPr lang="en-US" sz="1200" i="1" dirty="0"/>
              <a:t>city level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pic>
        <p:nvPicPr>
          <p:cNvPr id="4" name="Picture Placeholder 12">
            <a:extLst>
              <a:ext uri="{FF2B5EF4-FFF2-40B4-BE49-F238E27FC236}">
                <a16:creationId xmlns:a16="http://schemas.microsoft.com/office/drawing/2014/main" id="{2C5D90BC-B8B9-D081-A6C9-784537D7EFC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5"/>
          <a:srcRect l="9767" r="9767"/>
          <a:stretch/>
        </p:blipFill>
        <p:spPr>
          <a:xfrm>
            <a:off x="720011" y="1406110"/>
            <a:ext cx="1669669" cy="1557131"/>
          </a:xfrm>
          <a:prstGeom prst="rect">
            <a:avLst/>
          </a:prstGeom>
        </p:spPr>
      </p:pic>
      <p:pic>
        <p:nvPicPr>
          <p:cNvPr id="5" name="Picture Placeholder 12">
            <a:extLst>
              <a:ext uri="{FF2B5EF4-FFF2-40B4-BE49-F238E27FC236}">
                <a16:creationId xmlns:a16="http://schemas.microsoft.com/office/drawing/2014/main" id="{839E48B7-DC7D-4F29-B99A-DBDB7F2F7B6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6"/>
          <a:srcRect t="3370" b="3370"/>
          <a:stretch/>
        </p:blipFill>
        <p:spPr>
          <a:xfrm>
            <a:off x="3477861" y="1281233"/>
            <a:ext cx="1882226" cy="1755361"/>
          </a:xfrm>
          <a:prstGeom prst="rect">
            <a:avLst/>
          </a:prstGeom>
        </p:spPr>
      </p:pic>
      <p:pic>
        <p:nvPicPr>
          <p:cNvPr id="6" name="Picture Placeholder 12">
            <a:extLst>
              <a:ext uri="{FF2B5EF4-FFF2-40B4-BE49-F238E27FC236}">
                <a16:creationId xmlns:a16="http://schemas.microsoft.com/office/drawing/2014/main" id="{4DF847E9-FEEE-CB38-76E5-0AD3197072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7"/>
          <a:srcRect t="3370" b="3370"/>
          <a:stretch/>
        </p:blipFill>
        <p:spPr>
          <a:xfrm>
            <a:off x="6493823" y="1306994"/>
            <a:ext cx="1882226" cy="1755361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961A0E9-36B0-5AEC-0AEC-05CDA9FCB2D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Dataset &amp; EXTERNAL SOURC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FE0237E-07B0-095F-CCC5-416010814B2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22659" y="4338690"/>
            <a:ext cx="8509000" cy="463153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7144"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Three sources forming the </a:t>
            </a:r>
            <a:r>
              <a:rPr lang="en-US" sz="1400" b="1" dirty="0">
                <a:solidFill>
                  <a:srgbClr val="125E4B"/>
                </a:solidFill>
              </a:rPr>
              <a:t>cor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ataset</a:t>
            </a:r>
            <a:r>
              <a:rPr lang="en-US" sz="1400" dirty="0">
                <a:solidFill>
                  <a:srgbClr val="125E4B"/>
                </a:solidFill>
              </a:rPr>
              <a:t>, providing the foundational data that captures the </a:t>
            </a:r>
            <a:r>
              <a:rPr lang="en-US" sz="1400" b="1" dirty="0">
                <a:solidFill>
                  <a:srgbClr val="125E4B"/>
                </a:solidFill>
              </a:rPr>
              <a:t>suppl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chain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structure</a:t>
            </a:r>
            <a:r>
              <a:rPr lang="en-US" sz="1400" dirty="0">
                <a:solidFill>
                  <a:srgbClr val="125E4B"/>
                </a:solidFill>
              </a:rPr>
              <a:t>.</a:t>
            </a:r>
            <a:endParaRPr lang="en-US" sz="1400" noProof="1">
              <a:solidFill>
                <a:srgbClr val="125E4B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6D5D6E-F3DF-0646-2903-E3D952567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7</a:t>
            </a:fld>
            <a:endParaRPr lang="en-US"/>
          </a:p>
        </p:txBody>
      </p:sp>
      <p:sp>
        <p:nvSpPr>
          <p:cNvPr id="8" name="Google Shape;10527;p9415">
            <a:extLst>
              <a:ext uri="{FF2B5EF4-FFF2-40B4-BE49-F238E27FC236}">
                <a16:creationId xmlns:a16="http://schemas.microsoft.com/office/drawing/2014/main" id="{F9041267-76FA-D1C8-B31B-F4B280802F63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25755" y="1166842"/>
            <a:ext cx="1618369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ilot Order Data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3ADAF5CD-4415-63F4-1474-0EFA21455F7E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523415" y="1166842"/>
            <a:ext cx="183667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Carrier Tracking Data</a:t>
            </a:r>
          </a:p>
        </p:txBody>
      </p:sp>
      <p:sp>
        <p:nvSpPr>
          <p:cNvPr id="26" name="Google Shape;10527;p9415">
            <a:extLst>
              <a:ext uri="{FF2B5EF4-FFF2-40B4-BE49-F238E27FC236}">
                <a16:creationId xmlns:a16="http://schemas.microsoft.com/office/drawing/2014/main" id="{E4706407-616B-B77B-68E5-08B70914F093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539377" y="1166842"/>
            <a:ext cx="183667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Geographical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5652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7A15CD-96BD-BBA3-7A42-AC553F572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9D1DD2-6038-D2BD-9AD6-5B5EC5A3E6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0" y="411480"/>
            <a:ext cx="8455914" cy="371475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raffic, Weather and Holiday Dat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284CDA0-4916-BF50-28B2-8A6EA11CB044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384062" y="3094174"/>
            <a:ext cx="2474484" cy="1022054"/>
          </a:xfr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TomTom API </a:t>
            </a:r>
            <a:r>
              <a:rPr lang="en-US" sz="1200" dirty="0"/>
              <a:t>to retrieve </a:t>
            </a:r>
            <a:r>
              <a:rPr lang="en-US" sz="1200" i="1" dirty="0"/>
              <a:t>road</a:t>
            </a:r>
            <a:r>
              <a:rPr lang="en-US" sz="1200" dirty="0"/>
              <a:t> </a:t>
            </a:r>
            <a:r>
              <a:rPr lang="en-US" sz="1200" i="1" dirty="0"/>
              <a:t>traffic</a:t>
            </a:r>
            <a:r>
              <a:rPr lang="en-US" sz="1200" dirty="0"/>
              <a:t> data, comparing ideal vs real-time conditions between two locations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0130E7E-B23C-FEE2-F3AA-A9C91BDF5EFA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477861" y="3098447"/>
            <a:ext cx="2375587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Visual Crossing API </a:t>
            </a:r>
            <a:r>
              <a:rPr lang="en-US" sz="1200" dirty="0"/>
              <a:t>to retrieve </a:t>
            </a:r>
            <a:r>
              <a:rPr lang="en-US" sz="1200" i="1" dirty="0"/>
              <a:t>weather</a:t>
            </a:r>
            <a:r>
              <a:rPr lang="en-US" sz="1200" dirty="0"/>
              <a:t> data, providing real-time conditions for any location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7959758-DAF0-24C0-671C-3BE67176F7E2}"/>
              </a:ext>
            </a:extLst>
          </p:cNvPr>
          <p:cNvSpPr>
            <a:spLocks noGrp="1"/>
          </p:cNvSpPr>
          <p:nvPr>
            <p:ph sz="half" idx="16"/>
            <p:custDataLst>
              <p:tags r:id="rId5"/>
            </p:custDataLst>
          </p:nvPr>
        </p:nvSpPr>
        <p:spPr>
          <a:xfrm>
            <a:off x="6493823" y="3083801"/>
            <a:ext cx="2266115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 err="1"/>
              <a:t>Calendarific</a:t>
            </a:r>
            <a:r>
              <a:rPr lang="en-US" sz="1200" dirty="0"/>
              <a:t> </a:t>
            </a:r>
            <a:r>
              <a:rPr lang="en-US" sz="1200" b="1" dirty="0"/>
              <a:t>API </a:t>
            </a:r>
            <a:r>
              <a:rPr lang="en-US" sz="1200" dirty="0"/>
              <a:t>to retrieve </a:t>
            </a:r>
            <a:r>
              <a:rPr lang="en-US" sz="1200" i="1" dirty="0"/>
              <a:t>national</a:t>
            </a:r>
            <a:r>
              <a:rPr lang="en-US" sz="1200" dirty="0"/>
              <a:t> </a:t>
            </a:r>
            <a:r>
              <a:rPr lang="en-US" sz="1200" i="1" dirty="0"/>
              <a:t>holidays</a:t>
            </a:r>
            <a:r>
              <a:rPr lang="en-US" sz="1200" dirty="0"/>
              <a:t> worldwide, providing indications on supplier closures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pic>
        <p:nvPicPr>
          <p:cNvPr id="4" name="Picture Placeholder 12">
            <a:extLst>
              <a:ext uri="{FF2B5EF4-FFF2-40B4-BE49-F238E27FC236}">
                <a16:creationId xmlns:a16="http://schemas.microsoft.com/office/drawing/2014/main" id="{75BE2720-E46F-B8DF-FBA4-5CB49C702FD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5"/>
          <a:srcRect t="3" b="3"/>
          <a:stretch/>
        </p:blipFill>
        <p:spPr>
          <a:xfrm>
            <a:off x="720011" y="1406110"/>
            <a:ext cx="1669669" cy="1557131"/>
          </a:xfrm>
          <a:prstGeom prst="rect">
            <a:avLst/>
          </a:prstGeom>
        </p:spPr>
      </p:pic>
      <p:pic>
        <p:nvPicPr>
          <p:cNvPr id="5" name="Picture Placeholder 12">
            <a:extLst>
              <a:ext uri="{FF2B5EF4-FFF2-40B4-BE49-F238E27FC236}">
                <a16:creationId xmlns:a16="http://schemas.microsoft.com/office/drawing/2014/main" id="{EB03D4AA-1B85-F2FF-6D90-259189D3E7A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6"/>
          <a:srcRect l="104" r="104"/>
          <a:stretch/>
        </p:blipFill>
        <p:spPr>
          <a:xfrm>
            <a:off x="3627941" y="1463916"/>
            <a:ext cx="1520465" cy="1417984"/>
          </a:xfrm>
          <a:prstGeom prst="rect">
            <a:avLst/>
          </a:prstGeom>
        </p:spPr>
      </p:pic>
      <p:pic>
        <p:nvPicPr>
          <p:cNvPr id="6" name="Picture Placeholder 12">
            <a:extLst>
              <a:ext uri="{FF2B5EF4-FFF2-40B4-BE49-F238E27FC236}">
                <a16:creationId xmlns:a16="http://schemas.microsoft.com/office/drawing/2014/main" id="{D58536C3-D5C2-3215-D98D-6D5CBFC3841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7"/>
          <a:srcRect t="132" b="132"/>
          <a:stretch/>
        </p:blipFill>
        <p:spPr>
          <a:xfrm>
            <a:off x="6568861" y="1305937"/>
            <a:ext cx="1777702" cy="1657882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53DCCD2-51A1-36E4-6B1E-4351A0EB923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Dataset &amp; EXTERNAL SOURC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3CF82D-911A-DEA9-3E99-83FF9856894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592026" y="2648905"/>
            <a:ext cx="1592293" cy="31433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EC6EE7F-876A-1251-E0C4-D0B2A8356B8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622877" y="2601014"/>
            <a:ext cx="1669669" cy="38304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ABE63A5-106F-80C5-FF9A-C7888C837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8</a:t>
            </a:fld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207C4F0-93C0-86A0-CA5A-DAF2A82C0BE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21469" y="4337048"/>
            <a:ext cx="8509000" cy="463153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7144"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Three </a:t>
            </a:r>
            <a:r>
              <a:rPr lang="en-US" sz="1400" b="1" dirty="0">
                <a:solidFill>
                  <a:srgbClr val="125E4B"/>
                </a:solidFill>
              </a:rPr>
              <a:t>complementar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sources</a:t>
            </a:r>
            <a:r>
              <a:rPr lang="en-US" sz="1400" dirty="0">
                <a:solidFill>
                  <a:srgbClr val="125E4B"/>
                </a:solidFill>
              </a:rPr>
              <a:t> enrich the core dataset, providing a </a:t>
            </a:r>
            <a:r>
              <a:rPr lang="en-US" sz="1400" b="1" dirty="0">
                <a:solidFill>
                  <a:srgbClr val="125E4B"/>
                </a:solidFill>
              </a:rPr>
              <a:t>complet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representation</a:t>
            </a:r>
            <a:r>
              <a:rPr lang="en-US" sz="1400" dirty="0">
                <a:solidFill>
                  <a:srgbClr val="125E4B"/>
                </a:solidFill>
              </a:rPr>
              <a:t> of the supply chain.</a:t>
            </a:r>
            <a:endParaRPr lang="en-US" sz="1400" noProof="1">
              <a:solidFill>
                <a:srgbClr val="125E4B"/>
              </a:solidFill>
            </a:endParaRPr>
          </a:p>
        </p:txBody>
      </p:sp>
      <p:sp>
        <p:nvSpPr>
          <p:cNvPr id="19" name="Google Shape;10527;p9415">
            <a:extLst>
              <a:ext uri="{FF2B5EF4-FFF2-40B4-BE49-F238E27FC236}">
                <a16:creationId xmlns:a16="http://schemas.microsoft.com/office/drawing/2014/main" id="{06C20654-EAA3-057E-7DD9-468E709FD51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25755" y="1166842"/>
            <a:ext cx="1618369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raffic Data</a:t>
            </a:r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AFF08CF2-0B70-9BCA-1AB2-EE35AB44A0E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523415" y="1166842"/>
            <a:ext cx="183667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Weather Data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AC9976C0-266A-4552-D26A-80AD071D7B5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539377" y="1166842"/>
            <a:ext cx="183667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Holiday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5341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C1EED9-39A5-D0CB-7B65-17BBD7060A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7CF3A20-74A0-B286-93E7-E7107BED0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977E95-43D5-419C-7051-6CB815B012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684EBE-C296-8FE4-3AC5-F296BAB8F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B97C6B-8093-6D77-8ACD-FB1520633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C5DA491-D201-F3AE-41C8-596E94A786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BA953E-A469-3684-CC06-61C70583E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618" y="614238"/>
            <a:ext cx="459771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Supply Chain Modeling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4AED0BD-BAB1-0FA8-780C-E6EC3DDBD9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64B032-AEC3-B73F-3CEB-5775A3DD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195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TEMPLATE" val="D9fCV9f59UZFiLIMLoUj3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ij4NWDig4GGj2YXDfteTl"/>
  <p:tag name="PLUS_SLIDE_PPT_ID" val="364#14719607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a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UjG0aHTvi5ieti22ojGTV"/>
  <p:tag name="PLUS_SLIDE_PPT_ID" val="463#38543389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presentation_titl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a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agend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UjG0aHTvi5ieti22ojGTV"/>
  <p:tag name="PLUS_SLIDE_PPT_ID" val="463#38543389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ij4NWDig4GGj2YXDg0t38"/>
  <p:tag name="PLUS_SLIDE_PPT_ID" val="407#5814659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yA1m02rtmrOQ94IrtZZifU"/>
  <p:tag name="PLUS_SLIDE_PPT_ID" val="448#290044862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yA1m02rtmrOQ94IrtZZifU"/>
  <p:tag name="PLUS_SLIDE_PPT_ID" val="448#290044862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atj3"/>
  <p:tag name="PLUS_SLIDE_PPT_ID" val="423#208484222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v1N2wBpLqoO2Q3HXuee3OX"/>
  <p:tag name="PLUS_SLIDE_PPT_ID" val="456#3540731139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byA"/>
  <p:tag name="PLUS_SLIDE_PPT_ID" val="400#65717275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heme/theme1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  <wetp:taskpane dockstate="right" visibility="0" width="525" row="6">
    <wetp:webextensionref xmlns:r="http://schemas.openxmlformats.org/officeDocument/2006/relationships" r:id="rId2"/>
  </wetp:taskpane>
  <wetp:taskpane dockstate="right" visibility="0" width="525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AE816A53-FFED-451F-815E-7B55E28E1682}">
  <we:reference id="wa200005566" version="3.0.0.3" store="it-IT" storeType="OMEX"/>
  <we:alternateReferences>
    <we:reference id="WA200005566" version="3.0.0.3" store="WA200005566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024D3EED-6F01-47BB-AE29-8192D9D3FE85}">
  <we:reference id="wa200007130" version="1.0.0.1" store="it-IT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AC0BC109-E9FA-4F4B-8CA9-A5331078B04F}">
  <we:reference id="wa200003964" version="1.0.0.0" store="it-IT" storeType="OMEX"/>
  <we:alternateReferences>
    <we:reference id="WA200003964" version="1.0.0.0" store="WA200003964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406</TotalTime>
  <Words>2185</Words>
  <Application>Microsoft Office PowerPoint</Application>
  <PresentationFormat>On-screen Show (16:9)</PresentationFormat>
  <Paragraphs>356</Paragraphs>
  <Slides>3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5" baseType="lpstr">
      <vt:lpstr>Arial</vt:lpstr>
      <vt:lpstr>Aptos Light</vt:lpstr>
      <vt:lpstr>Aptos SemiBold</vt:lpstr>
      <vt:lpstr>Cambria Math</vt:lpstr>
      <vt:lpstr>Aptos</vt:lpstr>
      <vt:lpstr>office theme</vt:lpstr>
      <vt:lpstr>office theme</vt:lpstr>
      <vt:lpstr>office theme</vt:lpstr>
      <vt:lpstr>office theme</vt:lpstr>
      <vt:lpstr>office theme</vt:lpstr>
      <vt:lpstr>think-cell Slide</vt:lpstr>
      <vt:lpstr>Delay Prediction in Supply Chains: A Hybrid Graph-Based and  Machine Learning Approach</vt:lpstr>
      <vt:lpstr>Agenda</vt:lpstr>
      <vt:lpstr>M4ESTRO Project Overview</vt:lpstr>
      <vt:lpstr>Motivation &amp; Purpose</vt:lpstr>
      <vt:lpstr>Key Contributions</vt:lpstr>
      <vt:lpstr>Dataset &amp; External Sources </vt:lpstr>
      <vt:lpstr>Pilot and Tracking Data</vt:lpstr>
      <vt:lpstr>Traffic, Weather and Holiday Data</vt:lpstr>
      <vt:lpstr>Supply Chain Modeling</vt:lpstr>
      <vt:lpstr>Supply Chain Graph Model</vt:lpstr>
      <vt:lpstr>Markov Chain Routing Model</vt:lpstr>
      <vt:lpstr>Paths Extraction and Probability Distributions</vt:lpstr>
      <vt:lpstr>Historical Indicators</vt:lpstr>
      <vt:lpstr>Definition</vt:lpstr>
      <vt:lpstr>Implementation</vt:lpstr>
      <vt:lpstr>Realtime Indicators</vt:lpstr>
      <vt:lpstr>Overview</vt:lpstr>
      <vt:lpstr>Definition (1)</vt:lpstr>
      <vt:lpstr>Definition (2)</vt:lpstr>
      <vt:lpstr>Implementation (1)</vt:lpstr>
      <vt:lpstr>Implementation (2)</vt:lpstr>
      <vt:lpstr>Protoype &amp; Experimental Evaluation</vt:lpstr>
      <vt:lpstr>Prototype Architecture</vt:lpstr>
      <vt:lpstr>Evaluation Methodology</vt:lpstr>
      <vt:lpstr>Quantitative Evaluation</vt:lpstr>
      <vt:lpstr>Sensitivity Analysis</vt:lpstr>
      <vt:lpstr>Evolution of Shipment Estimates (1)</vt:lpstr>
      <vt:lpstr>Evolution of Shipment Estimates (2)</vt:lpstr>
      <vt:lpstr>Evolution of Shipment Estimates (3)</vt:lpstr>
      <vt:lpstr>Evolution of Shipment Estimates (4)</vt:lpstr>
      <vt:lpstr>Evolution of Shipment Estimates (5)</vt:lpstr>
      <vt:lpstr>Conclusion</vt:lpstr>
      <vt:lpstr>Future Development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ox</dc:creator>
  <cp:lastModifiedBy>m.volpato4@campus.unimib.it</cp:lastModifiedBy>
  <cp:revision>22</cp:revision>
  <dcterms:modified xsi:type="dcterms:W3CDTF">2025-09-20T13:42:17Z</dcterms:modified>
</cp:coreProperties>
</file>